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09" r:id="rId5"/>
    <p:sldMasterId id="2147483722" r:id="rId6"/>
  </p:sldMasterIdLst>
  <p:notesMasterIdLst>
    <p:notesMasterId r:id="rId17"/>
  </p:notesMasterIdLst>
  <p:sldIdLst>
    <p:sldId id="296" r:id="rId7"/>
    <p:sldId id="2147482521" r:id="rId8"/>
    <p:sldId id="264" r:id="rId9"/>
    <p:sldId id="2147482522" r:id="rId10"/>
    <p:sldId id="2147482526" r:id="rId11"/>
    <p:sldId id="258" r:id="rId12"/>
    <p:sldId id="2147482527" r:id="rId13"/>
    <p:sldId id="2147482528" r:id="rId14"/>
    <p:sldId id="2147482523" r:id="rId15"/>
    <p:sldId id="2147482529" r:id="rId16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BC7252-0FBC-AA3C-2475-55605F710759}" v="3" dt="2025-03-03T06:42:07.287"/>
    <p1510:client id="{89FFE11B-5133-74A5-5AEF-D0DF3C69E671}" v="2" dt="2025-03-03T11:17:26.71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51" d="100"/>
          <a:sy n="51" d="100"/>
        </p:scale>
        <p:origin x="1256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umar, Abhijit" userId="S::abhijit.k.kumar@accenture.com::83badc57-2ee5-44a9-8e05-5321c6a4b4c6" providerId="AD" clId="Web-{89FFE11B-5133-74A5-5AEF-D0DF3C69E671}"/>
    <pc:docChg chg="modSld">
      <pc:chgData name="Kumar, Abhijit" userId="S::abhijit.k.kumar@accenture.com::83badc57-2ee5-44a9-8e05-5321c6a4b4c6" providerId="AD" clId="Web-{89FFE11B-5133-74A5-5AEF-D0DF3C69E671}" dt="2025-03-03T11:17:26.716" v="1" actId="1076"/>
      <pc:docMkLst>
        <pc:docMk/>
      </pc:docMkLst>
      <pc:sldChg chg="modSp">
        <pc:chgData name="Kumar, Abhijit" userId="S::abhijit.k.kumar@accenture.com::83badc57-2ee5-44a9-8e05-5321c6a4b4c6" providerId="AD" clId="Web-{89FFE11B-5133-74A5-5AEF-D0DF3C69E671}" dt="2025-03-03T11:17:26.716" v="1" actId="1076"/>
        <pc:sldMkLst>
          <pc:docMk/>
          <pc:sldMk cId="1004701693" sldId="2147482521"/>
        </pc:sldMkLst>
        <pc:grpChg chg="mod">
          <ac:chgData name="Kumar, Abhijit" userId="S::abhijit.k.kumar@accenture.com::83badc57-2ee5-44a9-8e05-5321c6a4b4c6" providerId="AD" clId="Web-{89FFE11B-5133-74A5-5AEF-D0DF3C69E671}" dt="2025-03-03T11:17:26.716" v="1" actId="1076"/>
          <ac:grpSpMkLst>
            <pc:docMk/>
            <pc:sldMk cId="1004701693" sldId="2147482521"/>
            <ac:grpSpMk id="21" creationId="{BD27F5C4-E82E-D037-24C5-3A04230A2773}"/>
          </ac:grpSpMkLst>
        </pc:grpChg>
      </pc:sldChg>
    </pc:docChg>
  </pc:docChgLst>
  <pc:docChgLst>
    <pc:chgData name="Kumar, Abhijit" userId="S::abhijit.k.kumar@accenture.com::83badc57-2ee5-44a9-8e05-5321c6a4b4c6" providerId="AD" clId="Web-{06BC7252-0FBC-AA3C-2475-55605F710759}"/>
    <pc:docChg chg="modSld">
      <pc:chgData name="Kumar, Abhijit" userId="S::abhijit.k.kumar@accenture.com::83badc57-2ee5-44a9-8e05-5321c6a4b4c6" providerId="AD" clId="Web-{06BC7252-0FBC-AA3C-2475-55605F710759}" dt="2025-03-03T06:42:07.287" v="2" actId="1076"/>
      <pc:docMkLst>
        <pc:docMk/>
      </pc:docMkLst>
      <pc:sldChg chg="modSp">
        <pc:chgData name="Kumar, Abhijit" userId="S::abhijit.k.kumar@accenture.com::83badc57-2ee5-44a9-8e05-5321c6a4b4c6" providerId="AD" clId="Web-{06BC7252-0FBC-AA3C-2475-55605F710759}" dt="2025-03-03T06:42:07.287" v="2" actId="1076"/>
        <pc:sldMkLst>
          <pc:docMk/>
          <pc:sldMk cId="1004701693" sldId="2147482521"/>
        </pc:sldMkLst>
        <pc:grpChg chg="mod">
          <ac:chgData name="Kumar, Abhijit" userId="S::abhijit.k.kumar@accenture.com::83badc57-2ee5-44a9-8e05-5321c6a4b4c6" providerId="AD" clId="Web-{06BC7252-0FBC-AA3C-2475-55605F710759}" dt="2025-03-03T06:42:07.287" v="2" actId="1076"/>
          <ac:grpSpMkLst>
            <pc:docMk/>
            <pc:sldMk cId="1004701693" sldId="2147482521"/>
            <ac:grpSpMk id="22" creationId="{32DE8EA2-34EE-A14C-5D1E-29BA976FD4E5}"/>
          </ac:grpSpMkLst>
        </pc:gr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E974B8-2881-4529-9F7B-C809A2882AF7}" type="datetimeFigureOut">
              <a:rPr lang="es-ES" smtClean="0"/>
              <a:t>03/03/2025</a:t>
            </a:fld>
            <a:endParaRPr lang="es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6C3F4C-42F3-4DE7-9FFC-DBEE573C0FE0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7655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89403C-63C5-4B05-AA47-3551F0A475F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76082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17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.bin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4085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3608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6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12688DA9-25EC-4AC3-AD0E-0CC139E11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464481-354D-44BF-B8B2-E0AFA2830FD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9" name="Logo_WH" descr="Accenture logo in white">
            <a:extLst>
              <a:ext uri="{FF2B5EF4-FFF2-40B4-BE49-F238E27FC236}">
                <a16:creationId xmlns:a16="http://schemas.microsoft.com/office/drawing/2014/main" id="{BA79480B-BE6F-49EC-829D-D8AF858ABFD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1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0D6DAB6-FE72-4647-9B94-83468BA6B4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6961114-35B1-4F8E-96CC-0CA3D18133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503507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7 Acquisition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9B6BF12D-A981-4F4E-B8F1-FF12DC840F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Font typeface="Arial" panose="020B0604020202020204" pitchFamily="34" charset="0"/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591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564433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10" name="Graphic 9" descr="Accenture Greater Than symbol in purple">
            <a:extLst>
              <a:ext uri="{FF2B5EF4-FFF2-40B4-BE49-F238E27FC236}">
                <a16:creationId xmlns:a16="http://schemas.microsoft.com/office/drawing/2014/main" id="{299A6723-3F53-4981-840E-D1D62874F6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8734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749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46188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4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771526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1C5BF709-3623-4620-9FF0-B8F8076A8BE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B64CB8-485B-4A84-AF6D-C9EF2955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4AE1E9A-205A-4C25-A6CD-8452DDD299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738585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5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733891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4734391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4979668"/>
            <a:ext cx="4114799" cy="548640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8D3E8DD1-C700-46AC-AA94-9072B0F317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9093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99A1684-BC33-4579-B840-616EB6D11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5AD5E73-6E1C-44F8-9F73-9F3D4F6DF7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357178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6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11" descr="Image placeholder for client logo">
            <a:extLst>
              <a:ext uri="{FF2B5EF4-FFF2-40B4-BE49-F238E27FC236}">
                <a16:creationId xmlns:a16="http://schemas.microsoft.com/office/drawing/2014/main" id="{FFB79963-9269-41F8-B968-34FCB68C8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26766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947262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7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05B9195C-3F7A-4A18-80FA-FB81E2ECDE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5998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5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56041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197231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2160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5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0863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5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66586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Agenda title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24128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6136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726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0pt</a:t>
            </a:r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6746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Arial" panose="020B0604020202020204" pitchFamily="34" charset="0"/>
              <a:buChar char="•"/>
              <a:defRPr sz="1800"/>
            </a:lvl2pPr>
            <a:lvl3pPr marL="457200">
              <a:buFont typeface="Arial" panose="020B0503030202060203" pitchFamily="34" charset="0"/>
              <a:buChar char="–"/>
              <a:defRPr sz="1800"/>
            </a:lvl3pPr>
            <a:lvl4pPr marL="685800">
              <a:buFont typeface="Arial" panose="020B0604020202020204" pitchFamily="34" charset="0"/>
              <a:buChar char="•"/>
              <a:defRPr sz="1600"/>
            </a:lvl4pPr>
            <a:lvl5pPr marL="914400">
              <a:buFont typeface="Arial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Place sub-headline </a:t>
            </a:r>
            <a:r>
              <a:rPr lang="en-GB" dirty="0"/>
              <a:t>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Place text here 20pt</a:t>
            </a:r>
          </a:p>
          <a:p>
            <a:pPr lvl="1"/>
            <a:r>
              <a:rPr lang="en-US" dirty="0"/>
              <a:t>Second level 20pt</a:t>
            </a:r>
          </a:p>
          <a:p>
            <a:pPr lvl="2"/>
            <a:r>
              <a:rPr lang="en-US" dirty="0"/>
              <a:t>Third level 20pt</a:t>
            </a:r>
          </a:p>
          <a:p>
            <a:pPr lvl="3"/>
            <a:r>
              <a:rPr lang="en-US" dirty="0"/>
              <a:t>Fourth level 18pt</a:t>
            </a:r>
          </a:p>
          <a:p>
            <a:pPr lvl="4"/>
            <a:r>
              <a:rPr lang="en-US" dirty="0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5758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>
          <p15:clr>
            <a:srgbClr val="C35E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23235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0p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3987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0p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1479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 72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269943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503030202060203" pitchFamily="34" charset="0"/>
              <a:buNone/>
              <a:tabLst/>
            </a:pPr>
            <a:r>
              <a:rPr lang="en-US" dirty="0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503030202060203" pitchFamily="34" charset="0"/>
              <a:buNone/>
              <a:tabLst/>
            </a:pPr>
            <a:r>
              <a:rPr lang="en-US" dirty="0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0pt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94380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0pt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51220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0p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9632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36999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931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 21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159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Place text here, use indent to access other levels 20pt</a:t>
            </a:r>
          </a:p>
          <a:p>
            <a:pPr lvl="1"/>
            <a:r>
              <a:rPr lang="en-GB" dirty="0"/>
              <a:t>Second level 20pt</a:t>
            </a:r>
          </a:p>
          <a:p>
            <a:pPr lvl="2"/>
            <a:r>
              <a:rPr lang="en-GB" dirty="0"/>
              <a:t>Third level 20pt</a:t>
            </a:r>
          </a:p>
          <a:p>
            <a:pPr lvl="3"/>
            <a:r>
              <a:rPr lang="en-GB" dirty="0"/>
              <a:t>Fourth level 18pt</a:t>
            </a:r>
          </a:p>
          <a:p>
            <a:pPr lvl="4"/>
            <a:r>
              <a:rPr lang="en-GB" dirty="0"/>
              <a:t>Fifth level 18pt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14927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Drag picture to placeholder or click icon to add, then ‘Send to Back’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Arial" panose="020B0604020202020204" pitchFamily="34" charset="0"/>
              <a:buChar char="•"/>
              <a:defRPr sz="1800"/>
            </a:lvl2pPr>
            <a:lvl3pPr marL="457200">
              <a:buFont typeface="Arial" panose="020B0503030202060203" pitchFamily="34" charset="0"/>
              <a:buChar char="–"/>
              <a:defRPr sz="1800"/>
            </a:lvl3pPr>
            <a:lvl4pPr marL="685800">
              <a:buFont typeface="Arial" panose="020B0604020202020204" pitchFamily="34" charset="0"/>
              <a:buChar char="•"/>
              <a:defRPr sz="1600"/>
            </a:lvl4pPr>
            <a:lvl5pPr marL="914400">
              <a:buFont typeface="Arial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Place sub-headline </a:t>
            </a:r>
            <a:r>
              <a:rPr lang="en-GB" dirty="0"/>
              <a:t>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9146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Arial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Arial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lace sub-headline </a:t>
            </a:r>
            <a:r>
              <a:rPr lang="en-GB" dirty="0"/>
              <a:t>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r>
              <a:rPr lang="en-US" dirty="0"/>
              <a:t>, indent for other levels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12" name="GTS_WH" descr="Accenture Greater Than symbol in white">
            <a:extLst>
              <a:ext uri="{FF2B5EF4-FFF2-40B4-BE49-F238E27FC236}">
                <a16:creationId xmlns:a16="http://schemas.microsoft.com/office/drawing/2014/main" id="{9742AFA2-2F86-4FC9-AB33-FE5A8DC3B4C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71303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818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 72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6" name="GTS_WH" descr="Accenture Greater Than symbol in white">
            <a:extLst>
              <a:ext uri="{FF2B5EF4-FFF2-40B4-BE49-F238E27FC236}">
                <a16:creationId xmlns:a16="http://schemas.microsoft.com/office/drawing/2014/main" id="{5820492B-C4D2-42F2-B2B8-CB1CE70F894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0999" y="5607812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3014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82640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08684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BB918B6-32FF-4857-A645-C1032AFAE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5333969" cy="2393952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</a:t>
            </a:r>
          </a:p>
          <a:p>
            <a:r>
              <a:rPr lang="en-GB" dirty="0"/>
              <a:t>or click icon to add</a:t>
            </a:r>
            <a:endParaRPr lang="en-US" dirty="0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 dirty="0"/>
              <a:t>Drag picture to placeholder </a:t>
            </a:r>
          </a:p>
          <a:p>
            <a:pPr marL="228600" lvl="0" indent="-228600" algn="ctr"/>
            <a:r>
              <a:rPr lang="en-GB" dirty="0"/>
              <a:t>or click icon to add</a:t>
            </a:r>
            <a:endParaRPr lang="en-US" dirty="0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96686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310B6FD-F7E2-4120-A2CE-22852AAA9F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2FF57A0A-C5DD-42B6-8DD3-E5EA041C72D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31A683-09B8-4B7C-917B-D192D06BBA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0747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4746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33250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6475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0pt</a:t>
            </a:r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1148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87482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D9F71C6-13AC-5A47-9D38-B9E958EFF1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1111" t="1111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 descr="Shape&#10;&#10;Description automatically generated with low confidence">
            <a:extLst>
              <a:ext uri="{FF2B5EF4-FFF2-40B4-BE49-F238E27FC236}">
                <a16:creationId xmlns:a16="http://schemas.microsoft.com/office/drawing/2014/main" id="{D95777D2-15C3-6C40-94AA-AD74C4AFAB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36F14EB-62A9-5442-B8B7-15F4F9D4C8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17829" y="5129893"/>
            <a:ext cx="7422845" cy="110660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lang="en-US" sz="8000" b="1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1 Divider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A284675C-EF18-4B41-B585-1170B79FD0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62590" y="6305550"/>
            <a:ext cx="4418260" cy="2889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r">
              <a:lnSpc>
                <a:spcPct val="90000"/>
              </a:lnSpc>
              <a:buNone/>
              <a:defRPr lang="en-US" sz="2200" b="0" i="0" spc="0" dirty="0" smtClean="0">
                <a:solidFill>
                  <a:schemeClr val="tx1"/>
                </a:solidFill>
                <a:latin typeface="Graphik" panose="020B0503030202060203" pitchFamily="34" charset="77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4647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0567445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D9F71C6-13AC-5A47-9D38-B9E958EFF1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 flipH="1">
            <a:off x="0" y="2808"/>
            <a:ext cx="12192000" cy="6852383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36F14EB-62A9-5442-B8B7-15F4F9D4C8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7875" y="5129893"/>
            <a:ext cx="10972800" cy="110660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lang="en-US" sz="8000" b="1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2 Divider</a:t>
            </a:r>
          </a:p>
        </p:txBody>
      </p:sp>
      <p:pic>
        <p:nvPicPr>
          <p:cNvPr id="5" name="Picture 4" descr="Shape&#10;&#10;Description automatically generated with low confidence">
            <a:extLst>
              <a:ext uri="{FF2B5EF4-FFF2-40B4-BE49-F238E27FC236}">
                <a16:creationId xmlns:a16="http://schemas.microsoft.com/office/drawing/2014/main" id="{D95777D2-15C3-6C40-94AA-AD74C4AFAB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A284675C-EF18-4B41-B585-1170B79FD0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50200" y="6305550"/>
            <a:ext cx="3930650" cy="2889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r">
              <a:lnSpc>
                <a:spcPct val="90000"/>
              </a:lnSpc>
              <a:buNone/>
              <a:defRPr lang="en-US" sz="2200" b="0" i="0" spc="0" dirty="0" smtClean="0">
                <a:solidFill>
                  <a:schemeClr val="tx1"/>
                </a:solidFill>
                <a:latin typeface="Graphik" panose="020B0503030202060203" pitchFamily="34" charset="77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3523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0286E5-6BF2-F649-87C0-DFB6F1981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65760"/>
          </a:xfrm>
        </p:spPr>
        <p:txBody>
          <a:bodyPr vert="horz"/>
          <a:lstStyle>
            <a:lvl1pPr marL="0" indent="0">
              <a:buFont typeface="Arial" panose="020B0604020202020204" pitchFamily="34" charset="0"/>
              <a:buNone/>
              <a:defRPr sz="2800" b="0">
                <a:latin typeface="Graphik Medium" panose="020B0603030202060203" pitchFamily="34" charset="0"/>
              </a:defRPr>
            </a:lvl1pPr>
          </a:lstStyle>
          <a:p>
            <a:r>
              <a:rPr lang="en-GB"/>
              <a:t>Place headline here (28pt, min 30pt)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F11766D-2EDD-D3F9-A3C7-11A5A27106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755652"/>
            <a:ext cx="11430000" cy="27432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160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defTabSz="914400">
              <a:lnSpc>
                <a:spcPct val="80000"/>
              </a:lnSpc>
              <a:spcBef>
                <a:spcPct val="0"/>
              </a:spcBef>
            </a:pPr>
            <a:r>
              <a:rPr lang="en-US"/>
              <a:t>Subtitle (16pt)</a:t>
            </a:r>
          </a:p>
        </p:txBody>
      </p:sp>
    </p:spTree>
    <p:extLst>
      <p:ext uri="{BB962C8B-B14F-4D97-AF65-F5344CB8AC3E}">
        <p14:creationId xmlns:p14="http://schemas.microsoft.com/office/powerpoint/2010/main" val="29531452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782372E-BED6-8614-EBB9-7E942C7DBA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46" r="8564"/>
          <a:stretch/>
        </p:blipFill>
        <p:spPr>
          <a:xfrm flipH="1">
            <a:off x="-1" y="2133"/>
            <a:ext cx="10845455" cy="685532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201066F-F01E-A0B3-9DD9-F0E4F77F4435}"/>
              </a:ext>
            </a:extLst>
          </p:cNvPr>
          <p:cNvSpPr/>
          <p:nvPr userDrawn="1"/>
        </p:nvSpPr>
        <p:spPr>
          <a:xfrm>
            <a:off x="0" y="0"/>
            <a:ext cx="12192000" cy="6855320"/>
          </a:xfrm>
          <a:prstGeom prst="rect">
            <a:avLst/>
          </a:prstGeom>
          <a:gradFill>
            <a:gsLst>
              <a:gs pos="19000">
                <a:schemeClr val="bg1">
                  <a:alpha val="0"/>
                </a:schemeClr>
              </a:gs>
              <a:gs pos="99000">
                <a:schemeClr val="bg1"/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0286E5-6BF2-F649-87C0-DFB6F1981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65760"/>
          </a:xfrm>
        </p:spPr>
        <p:txBody>
          <a:bodyPr vert="horz"/>
          <a:lstStyle>
            <a:lvl1pPr marL="0" indent="0">
              <a:buFont typeface="Arial" panose="020B0604020202020204" pitchFamily="34" charset="0"/>
              <a:buNone/>
              <a:defRPr sz="2800" b="0">
                <a:latin typeface="Graphik Medium" panose="020B0603030202060203" pitchFamily="34" charset="0"/>
              </a:defRPr>
            </a:lvl1pPr>
          </a:lstStyle>
          <a:p>
            <a:r>
              <a:rPr lang="en-GB"/>
              <a:t>Place headline here (28pt, min 30pt)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F11766D-2EDD-D3F9-A3C7-11A5A27106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755652"/>
            <a:ext cx="11430000" cy="27432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160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defTabSz="914400">
              <a:lnSpc>
                <a:spcPct val="80000"/>
              </a:lnSpc>
              <a:spcBef>
                <a:spcPct val="0"/>
              </a:spcBef>
            </a:pPr>
            <a:r>
              <a:rPr lang="en-US"/>
              <a:t>Subtitle (16pt)</a:t>
            </a:r>
          </a:p>
        </p:txBody>
      </p:sp>
    </p:spTree>
    <p:extLst>
      <p:ext uri="{BB962C8B-B14F-4D97-AF65-F5344CB8AC3E}">
        <p14:creationId xmlns:p14="http://schemas.microsoft.com/office/powerpoint/2010/main" val="7367866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 + Border">
    <p:bg>
      <p:bgPr>
        <a:gradFill flip="none" rotWithShape="1">
          <a:gsLst>
            <a:gs pos="50000">
              <a:schemeClr val="accent4"/>
            </a:gs>
            <a:gs pos="0">
              <a:srgbClr val="FE7800"/>
            </a:gs>
            <a:gs pos="100000">
              <a:schemeClr val="accent5">
                <a:lumMod val="5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53CF1DF-9B7F-5DBF-AD3F-019D2F05595B}"/>
              </a:ext>
            </a:extLst>
          </p:cNvPr>
          <p:cNvSpPr/>
          <p:nvPr userDrawn="1"/>
        </p:nvSpPr>
        <p:spPr>
          <a:xfrm>
            <a:off x="133350" y="137160"/>
            <a:ext cx="11925301" cy="6583680"/>
          </a:xfrm>
          <a:prstGeom prst="rect">
            <a:avLst/>
          </a:prstGeom>
          <a:solidFill>
            <a:schemeClr val="bg1"/>
          </a:solidFill>
          <a:ln w="28575" cap="rnd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0DD5C24-99EE-FB73-DCB5-08D22C9150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552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DD5C24-99EE-FB73-DCB5-08D22C9150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65760"/>
          </a:xfrm>
        </p:spPr>
        <p:txBody>
          <a:bodyPr vert="horz"/>
          <a:lstStyle>
            <a:lvl1pPr marL="0" indent="0">
              <a:buFont typeface="Arial" panose="020B0604020202020204" pitchFamily="34" charset="0"/>
              <a:buNone/>
              <a:defRPr sz="2800" b="0">
                <a:latin typeface="Graphik Medium" panose="020B0603030202060203" pitchFamily="34" charset="0"/>
              </a:defRPr>
            </a:lvl1pPr>
          </a:lstStyle>
          <a:p>
            <a:r>
              <a:rPr lang="en-GB"/>
              <a:t>Place headline here (28pt, min 30pt)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5516005-58C3-921F-01B1-DC107F5A58BE}"/>
              </a:ext>
            </a:extLst>
          </p:cNvPr>
          <p:cNvSpPr txBox="1"/>
          <p:nvPr userDrawn="1"/>
        </p:nvSpPr>
        <p:spPr>
          <a:xfrm>
            <a:off x="8424570" y="6408847"/>
            <a:ext cx="311211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5 Accentur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5C765A3-3AA0-2536-6C9C-29E6102FDE60}"/>
              </a:ext>
            </a:extLst>
          </p:cNvPr>
          <p:cNvSpPr txBox="1"/>
          <p:nvPr userDrawn="1"/>
        </p:nvSpPr>
        <p:spPr>
          <a:xfrm>
            <a:off x="11536680" y="6408847"/>
            <a:ext cx="27432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E368298-636E-04BD-3BD4-0CB8AD7230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755652"/>
            <a:ext cx="11430000" cy="27432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160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defTabSz="914400">
              <a:lnSpc>
                <a:spcPct val="80000"/>
              </a:lnSpc>
              <a:spcBef>
                <a:spcPct val="0"/>
              </a:spcBef>
            </a:pPr>
            <a:r>
              <a:rPr lang="en-US"/>
              <a:t>Subtitle (16pt)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E970A7D-A99A-909D-32E8-B3AB76A94B83}"/>
              </a:ext>
            </a:extLst>
          </p:cNvPr>
          <p:cNvGrpSpPr/>
          <p:nvPr userDrawn="1"/>
        </p:nvGrpSpPr>
        <p:grpSpPr>
          <a:xfrm>
            <a:off x="400050" y="6345484"/>
            <a:ext cx="856530" cy="225127"/>
            <a:chOff x="400050" y="6345484"/>
            <a:chExt cx="856530" cy="225127"/>
          </a:xfrm>
        </p:grpSpPr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BC278635-22F7-9D6C-0E93-EF640F07A0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1647" y="6345484"/>
              <a:ext cx="84141" cy="89456"/>
            </a:xfrm>
            <a:custGeom>
              <a:avLst/>
              <a:gdLst>
                <a:gd name="T0" fmla="*/ 0 w 128"/>
                <a:gd name="T1" fmla="*/ 96 h 136"/>
                <a:gd name="T2" fmla="*/ 76 w 128"/>
                <a:gd name="T3" fmla="*/ 68 h 136"/>
                <a:gd name="T4" fmla="*/ 0 w 128"/>
                <a:gd name="T5" fmla="*/ 38 h 136"/>
                <a:gd name="T6" fmla="*/ 0 w 128"/>
                <a:gd name="T7" fmla="*/ 0 h 136"/>
                <a:gd name="T8" fmla="*/ 128 w 128"/>
                <a:gd name="T9" fmla="*/ 52 h 136"/>
                <a:gd name="T10" fmla="*/ 128 w 128"/>
                <a:gd name="T11" fmla="*/ 84 h 136"/>
                <a:gd name="T12" fmla="*/ 0 w 128"/>
                <a:gd name="T13" fmla="*/ 136 h 136"/>
                <a:gd name="T14" fmla="*/ 0 w 128"/>
                <a:gd name="T15" fmla="*/ 9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36">
                  <a:moveTo>
                    <a:pt x="0" y="96"/>
                  </a:moveTo>
                  <a:lnTo>
                    <a:pt x="76" y="68"/>
                  </a:lnTo>
                  <a:lnTo>
                    <a:pt x="0" y="38"/>
                  </a:lnTo>
                  <a:lnTo>
                    <a:pt x="0" y="0"/>
                  </a:lnTo>
                  <a:lnTo>
                    <a:pt x="128" y="52"/>
                  </a:lnTo>
                  <a:lnTo>
                    <a:pt x="128" y="84"/>
                  </a:lnTo>
                  <a:lnTo>
                    <a:pt x="0" y="136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DA7AF517-5107-3E0D-FB93-A730F281447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050" y="6439059"/>
              <a:ext cx="856530" cy="131552"/>
            </a:xfrm>
            <a:custGeom>
              <a:avLst/>
              <a:gdLst>
                <a:gd name="T0" fmla="*/ 4 w 1303"/>
                <a:gd name="T1" fmla="*/ 176 h 200"/>
                <a:gd name="T2" fmla="*/ 20 w 1303"/>
                <a:gd name="T3" fmla="*/ 116 h 200"/>
                <a:gd name="T4" fmla="*/ 88 w 1303"/>
                <a:gd name="T5" fmla="*/ 88 h 200"/>
                <a:gd name="T6" fmla="*/ 44 w 1303"/>
                <a:gd name="T7" fmla="*/ 92 h 200"/>
                <a:gd name="T8" fmla="*/ 44 w 1303"/>
                <a:gd name="T9" fmla="*/ 46 h 200"/>
                <a:gd name="T10" fmla="*/ 122 w 1303"/>
                <a:gd name="T11" fmla="*/ 62 h 200"/>
                <a:gd name="T12" fmla="*/ 84 w 1303"/>
                <a:gd name="T13" fmla="*/ 188 h 200"/>
                <a:gd name="T14" fmla="*/ 72 w 1303"/>
                <a:gd name="T15" fmla="*/ 132 h 200"/>
                <a:gd name="T16" fmla="*/ 46 w 1303"/>
                <a:gd name="T17" fmla="*/ 166 h 200"/>
                <a:gd name="T18" fmla="*/ 90 w 1303"/>
                <a:gd name="T19" fmla="*/ 146 h 200"/>
                <a:gd name="T20" fmla="*/ 166 w 1303"/>
                <a:gd name="T21" fmla="*/ 170 h 200"/>
                <a:gd name="T22" fmla="*/ 166 w 1303"/>
                <a:gd name="T23" fmla="*/ 74 h 200"/>
                <a:gd name="T24" fmla="*/ 252 w 1303"/>
                <a:gd name="T25" fmla="*/ 46 h 200"/>
                <a:gd name="T26" fmla="*/ 252 w 1303"/>
                <a:gd name="T27" fmla="*/ 100 h 200"/>
                <a:gd name="T28" fmla="*/ 210 w 1303"/>
                <a:gd name="T29" fmla="*/ 82 h 200"/>
                <a:gd name="T30" fmla="*/ 200 w 1303"/>
                <a:gd name="T31" fmla="*/ 144 h 200"/>
                <a:gd name="T32" fmla="*/ 238 w 1303"/>
                <a:gd name="T33" fmla="*/ 166 h 200"/>
                <a:gd name="T34" fmla="*/ 282 w 1303"/>
                <a:gd name="T35" fmla="*/ 174 h 200"/>
                <a:gd name="T36" fmla="*/ 384 w 1303"/>
                <a:gd name="T37" fmla="*/ 200 h 200"/>
                <a:gd name="T38" fmla="*/ 312 w 1303"/>
                <a:gd name="T39" fmla="*/ 122 h 200"/>
                <a:gd name="T40" fmla="*/ 356 w 1303"/>
                <a:gd name="T41" fmla="*/ 48 h 200"/>
                <a:gd name="T42" fmla="*/ 436 w 1303"/>
                <a:gd name="T43" fmla="*/ 64 h 200"/>
                <a:gd name="T44" fmla="*/ 394 w 1303"/>
                <a:gd name="T45" fmla="*/ 76 h 200"/>
                <a:gd name="T46" fmla="*/ 356 w 1303"/>
                <a:gd name="T47" fmla="*/ 100 h 200"/>
                <a:gd name="T48" fmla="*/ 366 w 1303"/>
                <a:gd name="T49" fmla="*/ 162 h 200"/>
                <a:gd name="T50" fmla="*/ 412 w 1303"/>
                <a:gd name="T51" fmla="*/ 140 h 200"/>
                <a:gd name="T52" fmla="*/ 410 w 1303"/>
                <a:gd name="T53" fmla="*/ 196 h 200"/>
                <a:gd name="T54" fmla="*/ 498 w 1303"/>
                <a:gd name="T55" fmla="*/ 188 h 200"/>
                <a:gd name="T56" fmla="*/ 470 w 1303"/>
                <a:gd name="T57" fmla="*/ 102 h 200"/>
                <a:gd name="T58" fmla="*/ 540 w 1303"/>
                <a:gd name="T59" fmla="*/ 42 h 200"/>
                <a:gd name="T60" fmla="*/ 608 w 1303"/>
                <a:gd name="T61" fmla="*/ 114 h 200"/>
                <a:gd name="T62" fmla="*/ 530 w 1303"/>
                <a:gd name="T63" fmla="*/ 168 h 200"/>
                <a:gd name="T64" fmla="*/ 608 w 1303"/>
                <a:gd name="T65" fmla="*/ 150 h 200"/>
                <a:gd name="T66" fmla="*/ 540 w 1303"/>
                <a:gd name="T67" fmla="*/ 200 h 200"/>
                <a:gd name="T68" fmla="*/ 556 w 1303"/>
                <a:gd name="T69" fmla="*/ 76 h 200"/>
                <a:gd name="T70" fmla="*/ 512 w 1303"/>
                <a:gd name="T71" fmla="*/ 104 h 200"/>
                <a:gd name="T72" fmla="*/ 705 w 1303"/>
                <a:gd name="T73" fmla="*/ 44 h 200"/>
                <a:gd name="T74" fmla="*/ 763 w 1303"/>
                <a:gd name="T75" fmla="*/ 72 h 200"/>
                <a:gd name="T76" fmla="*/ 719 w 1303"/>
                <a:gd name="T77" fmla="*/ 82 h 200"/>
                <a:gd name="T78" fmla="*/ 675 w 1303"/>
                <a:gd name="T79" fmla="*/ 196 h 200"/>
                <a:gd name="T80" fmla="*/ 845 w 1303"/>
                <a:gd name="T81" fmla="*/ 148 h 200"/>
                <a:gd name="T82" fmla="*/ 875 w 1303"/>
                <a:gd name="T83" fmla="*/ 162 h 200"/>
                <a:gd name="T84" fmla="*/ 821 w 1303"/>
                <a:gd name="T85" fmla="*/ 192 h 200"/>
                <a:gd name="T86" fmla="*/ 785 w 1303"/>
                <a:gd name="T87" fmla="*/ 46 h 200"/>
                <a:gd name="T88" fmla="*/ 983 w 1303"/>
                <a:gd name="T89" fmla="*/ 184 h 200"/>
                <a:gd name="T90" fmla="*/ 913 w 1303"/>
                <a:gd name="T91" fmla="*/ 188 h 200"/>
                <a:gd name="T92" fmla="*/ 941 w 1303"/>
                <a:gd name="T93" fmla="*/ 142 h 200"/>
                <a:gd name="T94" fmla="*/ 989 w 1303"/>
                <a:gd name="T95" fmla="*/ 152 h 200"/>
                <a:gd name="T96" fmla="*/ 1105 w 1303"/>
                <a:gd name="T97" fmla="*/ 74 h 200"/>
                <a:gd name="T98" fmla="*/ 1123 w 1303"/>
                <a:gd name="T99" fmla="*/ 90 h 200"/>
                <a:gd name="T100" fmla="*/ 1063 w 1303"/>
                <a:gd name="T101" fmla="*/ 46 h 200"/>
                <a:gd name="T102" fmla="*/ 1169 w 1303"/>
                <a:gd name="T103" fmla="*/ 156 h 200"/>
                <a:gd name="T104" fmla="*/ 1183 w 1303"/>
                <a:gd name="T105" fmla="*/ 62 h 200"/>
                <a:gd name="T106" fmla="*/ 1273 w 1303"/>
                <a:gd name="T107" fmla="*/ 52 h 200"/>
                <a:gd name="T108" fmla="*/ 1205 w 1303"/>
                <a:gd name="T109" fmla="*/ 132 h 200"/>
                <a:gd name="T110" fmla="*/ 1247 w 1303"/>
                <a:gd name="T111" fmla="*/ 168 h 200"/>
                <a:gd name="T112" fmla="*/ 1291 w 1303"/>
                <a:gd name="T113" fmla="*/ 178 h 200"/>
                <a:gd name="T114" fmla="*/ 1263 w 1303"/>
                <a:gd name="T115" fmla="*/ 104 h 200"/>
                <a:gd name="T116" fmla="*/ 1235 w 1303"/>
                <a:gd name="T117" fmla="*/ 7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03" h="200">
                  <a:moveTo>
                    <a:pt x="48" y="200"/>
                  </a:moveTo>
                  <a:lnTo>
                    <a:pt x="48" y="200"/>
                  </a:lnTo>
                  <a:lnTo>
                    <a:pt x="38" y="198"/>
                  </a:lnTo>
                  <a:lnTo>
                    <a:pt x="30" y="198"/>
                  </a:lnTo>
                  <a:lnTo>
                    <a:pt x="22" y="194"/>
                  </a:lnTo>
                  <a:lnTo>
                    <a:pt x="14" y="188"/>
                  </a:lnTo>
                  <a:lnTo>
                    <a:pt x="8" y="182"/>
                  </a:lnTo>
                  <a:lnTo>
                    <a:pt x="4" y="176"/>
                  </a:lnTo>
                  <a:lnTo>
                    <a:pt x="0" y="166"/>
                  </a:lnTo>
                  <a:lnTo>
                    <a:pt x="0" y="156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0" y="140"/>
                  </a:lnTo>
                  <a:lnTo>
                    <a:pt x="4" y="130"/>
                  </a:lnTo>
                  <a:lnTo>
                    <a:pt x="12" y="122"/>
                  </a:lnTo>
                  <a:lnTo>
                    <a:pt x="20" y="116"/>
                  </a:lnTo>
                  <a:lnTo>
                    <a:pt x="30" y="110"/>
                  </a:lnTo>
                  <a:lnTo>
                    <a:pt x="42" y="106"/>
                  </a:lnTo>
                  <a:lnTo>
                    <a:pt x="56" y="104"/>
                  </a:lnTo>
                  <a:lnTo>
                    <a:pt x="70" y="104"/>
                  </a:lnTo>
                  <a:lnTo>
                    <a:pt x="90" y="104"/>
                  </a:lnTo>
                  <a:lnTo>
                    <a:pt x="90" y="98"/>
                  </a:lnTo>
                  <a:lnTo>
                    <a:pt x="90" y="98"/>
                  </a:lnTo>
                  <a:lnTo>
                    <a:pt x="88" y="88"/>
                  </a:lnTo>
                  <a:lnTo>
                    <a:pt x="84" y="80"/>
                  </a:lnTo>
                  <a:lnTo>
                    <a:pt x="76" y="74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58" y="74"/>
                  </a:lnTo>
                  <a:lnTo>
                    <a:pt x="50" y="78"/>
                  </a:lnTo>
                  <a:lnTo>
                    <a:pt x="46" y="84"/>
                  </a:lnTo>
                  <a:lnTo>
                    <a:pt x="4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6" y="80"/>
                  </a:lnTo>
                  <a:lnTo>
                    <a:pt x="10" y="70"/>
                  </a:lnTo>
                  <a:lnTo>
                    <a:pt x="16" y="62"/>
                  </a:lnTo>
                  <a:lnTo>
                    <a:pt x="24" y="56"/>
                  </a:lnTo>
                  <a:lnTo>
                    <a:pt x="34" y="50"/>
                  </a:lnTo>
                  <a:lnTo>
                    <a:pt x="44" y="46"/>
                  </a:lnTo>
                  <a:lnTo>
                    <a:pt x="56" y="44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82" y="44"/>
                  </a:lnTo>
                  <a:lnTo>
                    <a:pt x="94" y="46"/>
                  </a:lnTo>
                  <a:lnTo>
                    <a:pt x="104" y="50"/>
                  </a:lnTo>
                  <a:lnTo>
                    <a:pt x="114" y="56"/>
                  </a:lnTo>
                  <a:lnTo>
                    <a:pt x="122" y="62"/>
                  </a:lnTo>
                  <a:lnTo>
                    <a:pt x="126" y="72"/>
                  </a:lnTo>
                  <a:lnTo>
                    <a:pt x="130" y="82"/>
                  </a:lnTo>
                  <a:lnTo>
                    <a:pt x="132" y="96"/>
                  </a:lnTo>
                  <a:lnTo>
                    <a:pt x="132" y="196"/>
                  </a:lnTo>
                  <a:lnTo>
                    <a:pt x="90" y="196"/>
                  </a:lnTo>
                  <a:lnTo>
                    <a:pt x="90" y="180"/>
                  </a:lnTo>
                  <a:lnTo>
                    <a:pt x="90" y="180"/>
                  </a:lnTo>
                  <a:lnTo>
                    <a:pt x="84" y="188"/>
                  </a:lnTo>
                  <a:lnTo>
                    <a:pt x="74" y="194"/>
                  </a:lnTo>
                  <a:lnTo>
                    <a:pt x="62" y="198"/>
                  </a:lnTo>
                  <a:lnTo>
                    <a:pt x="48" y="200"/>
                  </a:lnTo>
                  <a:lnTo>
                    <a:pt x="48" y="200"/>
                  </a:lnTo>
                  <a:close/>
                  <a:moveTo>
                    <a:pt x="90" y="146"/>
                  </a:moveTo>
                  <a:lnTo>
                    <a:pt x="90" y="132"/>
                  </a:lnTo>
                  <a:lnTo>
                    <a:pt x="72" y="132"/>
                  </a:lnTo>
                  <a:lnTo>
                    <a:pt x="72" y="132"/>
                  </a:lnTo>
                  <a:lnTo>
                    <a:pt x="58" y="134"/>
                  </a:lnTo>
                  <a:lnTo>
                    <a:pt x="48" y="136"/>
                  </a:lnTo>
                  <a:lnTo>
                    <a:pt x="44" y="142"/>
                  </a:lnTo>
                  <a:lnTo>
                    <a:pt x="42" y="152"/>
                  </a:lnTo>
                  <a:lnTo>
                    <a:pt x="42" y="152"/>
                  </a:lnTo>
                  <a:lnTo>
                    <a:pt x="42" y="152"/>
                  </a:lnTo>
                  <a:lnTo>
                    <a:pt x="42" y="160"/>
                  </a:lnTo>
                  <a:lnTo>
                    <a:pt x="46" y="166"/>
                  </a:lnTo>
                  <a:lnTo>
                    <a:pt x="52" y="168"/>
                  </a:lnTo>
                  <a:lnTo>
                    <a:pt x="62" y="170"/>
                  </a:lnTo>
                  <a:lnTo>
                    <a:pt x="62" y="170"/>
                  </a:lnTo>
                  <a:lnTo>
                    <a:pt x="72" y="168"/>
                  </a:lnTo>
                  <a:lnTo>
                    <a:pt x="80" y="164"/>
                  </a:lnTo>
                  <a:lnTo>
                    <a:pt x="86" y="156"/>
                  </a:lnTo>
                  <a:lnTo>
                    <a:pt x="88" y="152"/>
                  </a:lnTo>
                  <a:lnTo>
                    <a:pt x="90" y="146"/>
                  </a:lnTo>
                  <a:lnTo>
                    <a:pt x="90" y="146"/>
                  </a:lnTo>
                  <a:close/>
                  <a:moveTo>
                    <a:pt x="226" y="200"/>
                  </a:moveTo>
                  <a:lnTo>
                    <a:pt x="226" y="200"/>
                  </a:lnTo>
                  <a:lnTo>
                    <a:pt x="212" y="198"/>
                  </a:lnTo>
                  <a:lnTo>
                    <a:pt x="198" y="194"/>
                  </a:lnTo>
                  <a:lnTo>
                    <a:pt x="186" y="188"/>
                  </a:lnTo>
                  <a:lnTo>
                    <a:pt x="174" y="180"/>
                  </a:lnTo>
                  <a:lnTo>
                    <a:pt x="166" y="170"/>
                  </a:lnTo>
                  <a:lnTo>
                    <a:pt x="160" y="156"/>
                  </a:lnTo>
                  <a:lnTo>
                    <a:pt x="156" y="140"/>
                  </a:lnTo>
                  <a:lnTo>
                    <a:pt x="154" y="122"/>
                  </a:lnTo>
                  <a:lnTo>
                    <a:pt x="154" y="120"/>
                  </a:lnTo>
                  <a:lnTo>
                    <a:pt x="154" y="120"/>
                  </a:lnTo>
                  <a:lnTo>
                    <a:pt x="156" y="102"/>
                  </a:lnTo>
                  <a:lnTo>
                    <a:pt x="160" y="88"/>
                  </a:lnTo>
                  <a:lnTo>
                    <a:pt x="166" y="74"/>
                  </a:lnTo>
                  <a:lnTo>
                    <a:pt x="176" y="62"/>
                  </a:lnTo>
                  <a:lnTo>
                    <a:pt x="186" y="54"/>
                  </a:lnTo>
                  <a:lnTo>
                    <a:pt x="198" y="48"/>
                  </a:lnTo>
                  <a:lnTo>
                    <a:pt x="212" y="44"/>
                  </a:lnTo>
                  <a:lnTo>
                    <a:pt x="226" y="42"/>
                  </a:lnTo>
                  <a:lnTo>
                    <a:pt x="226" y="42"/>
                  </a:lnTo>
                  <a:lnTo>
                    <a:pt x="240" y="44"/>
                  </a:lnTo>
                  <a:lnTo>
                    <a:pt x="252" y="46"/>
                  </a:lnTo>
                  <a:lnTo>
                    <a:pt x="262" y="50"/>
                  </a:lnTo>
                  <a:lnTo>
                    <a:pt x="272" y="56"/>
                  </a:lnTo>
                  <a:lnTo>
                    <a:pt x="280" y="64"/>
                  </a:lnTo>
                  <a:lnTo>
                    <a:pt x="286" y="74"/>
                  </a:lnTo>
                  <a:lnTo>
                    <a:pt x="290" y="86"/>
                  </a:lnTo>
                  <a:lnTo>
                    <a:pt x="292" y="100"/>
                  </a:lnTo>
                  <a:lnTo>
                    <a:pt x="252" y="100"/>
                  </a:lnTo>
                  <a:lnTo>
                    <a:pt x="252" y="100"/>
                  </a:lnTo>
                  <a:lnTo>
                    <a:pt x="250" y="90"/>
                  </a:lnTo>
                  <a:lnTo>
                    <a:pt x="244" y="82"/>
                  </a:lnTo>
                  <a:lnTo>
                    <a:pt x="238" y="76"/>
                  </a:lnTo>
                  <a:lnTo>
                    <a:pt x="228" y="76"/>
                  </a:lnTo>
                  <a:lnTo>
                    <a:pt x="228" y="76"/>
                  </a:lnTo>
                  <a:lnTo>
                    <a:pt x="222" y="76"/>
                  </a:lnTo>
                  <a:lnTo>
                    <a:pt x="216" y="78"/>
                  </a:lnTo>
                  <a:lnTo>
                    <a:pt x="210" y="82"/>
                  </a:lnTo>
                  <a:lnTo>
                    <a:pt x="206" y="86"/>
                  </a:lnTo>
                  <a:lnTo>
                    <a:pt x="202" y="92"/>
                  </a:lnTo>
                  <a:lnTo>
                    <a:pt x="200" y="100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98" y="124"/>
                  </a:lnTo>
                  <a:lnTo>
                    <a:pt x="198" y="124"/>
                  </a:lnTo>
                  <a:lnTo>
                    <a:pt x="200" y="144"/>
                  </a:lnTo>
                  <a:lnTo>
                    <a:pt x="202" y="152"/>
                  </a:lnTo>
                  <a:lnTo>
                    <a:pt x="206" y="158"/>
                  </a:lnTo>
                  <a:lnTo>
                    <a:pt x="210" y="162"/>
                  </a:lnTo>
                  <a:lnTo>
                    <a:pt x="214" y="166"/>
                  </a:lnTo>
                  <a:lnTo>
                    <a:pt x="220" y="168"/>
                  </a:lnTo>
                  <a:lnTo>
                    <a:pt x="228" y="168"/>
                  </a:lnTo>
                  <a:lnTo>
                    <a:pt x="228" y="168"/>
                  </a:lnTo>
                  <a:lnTo>
                    <a:pt x="238" y="166"/>
                  </a:lnTo>
                  <a:lnTo>
                    <a:pt x="246" y="160"/>
                  </a:lnTo>
                  <a:lnTo>
                    <a:pt x="252" y="152"/>
                  </a:lnTo>
                  <a:lnTo>
                    <a:pt x="256" y="140"/>
                  </a:lnTo>
                  <a:lnTo>
                    <a:pt x="294" y="140"/>
                  </a:lnTo>
                  <a:lnTo>
                    <a:pt x="294" y="140"/>
                  </a:lnTo>
                  <a:lnTo>
                    <a:pt x="292" y="154"/>
                  </a:lnTo>
                  <a:lnTo>
                    <a:pt x="288" y="164"/>
                  </a:lnTo>
                  <a:lnTo>
                    <a:pt x="282" y="174"/>
                  </a:lnTo>
                  <a:lnTo>
                    <a:pt x="274" y="184"/>
                  </a:lnTo>
                  <a:lnTo>
                    <a:pt x="264" y="190"/>
                  </a:lnTo>
                  <a:lnTo>
                    <a:pt x="254" y="196"/>
                  </a:lnTo>
                  <a:lnTo>
                    <a:pt x="240" y="198"/>
                  </a:lnTo>
                  <a:lnTo>
                    <a:pt x="226" y="200"/>
                  </a:lnTo>
                  <a:lnTo>
                    <a:pt x="226" y="200"/>
                  </a:lnTo>
                  <a:close/>
                  <a:moveTo>
                    <a:pt x="384" y="200"/>
                  </a:moveTo>
                  <a:lnTo>
                    <a:pt x="384" y="200"/>
                  </a:lnTo>
                  <a:lnTo>
                    <a:pt x="368" y="198"/>
                  </a:lnTo>
                  <a:lnTo>
                    <a:pt x="354" y="194"/>
                  </a:lnTo>
                  <a:lnTo>
                    <a:pt x="342" y="188"/>
                  </a:lnTo>
                  <a:lnTo>
                    <a:pt x="332" y="180"/>
                  </a:lnTo>
                  <a:lnTo>
                    <a:pt x="322" y="170"/>
                  </a:lnTo>
                  <a:lnTo>
                    <a:pt x="316" y="156"/>
                  </a:lnTo>
                  <a:lnTo>
                    <a:pt x="312" y="140"/>
                  </a:lnTo>
                  <a:lnTo>
                    <a:pt x="312" y="122"/>
                  </a:lnTo>
                  <a:lnTo>
                    <a:pt x="312" y="120"/>
                  </a:lnTo>
                  <a:lnTo>
                    <a:pt x="312" y="120"/>
                  </a:lnTo>
                  <a:lnTo>
                    <a:pt x="312" y="102"/>
                  </a:lnTo>
                  <a:lnTo>
                    <a:pt x="316" y="88"/>
                  </a:lnTo>
                  <a:lnTo>
                    <a:pt x="324" y="74"/>
                  </a:lnTo>
                  <a:lnTo>
                    <a:pt x="332" y="62"/>
                  </a:lnTo>
                  <a:lnTo>
                    <a:pt x="342" y="54"/>
                  </a:lnTo>
                  <a:lnTo>
                    <a:pt x="356" y="48"/>
                  </a:lnTo>
                  <a:lnTo>
                    <a:pt x="368" y="44"/>
                  </a:lnTo>
                  <a:lnTo>
                    <a:pt x="384" y="42"/>
                  </a:lnTo>
                  <a:lnTo>
                    <a:pt x="384" y="42"/>
                  </a:lnTo>
                  <a:lnTo>
                    <a:pt x="396" y="44"/>
                  </a:lnTo>
                  <a:lnTo>
                    <a:pt x="408" y="46"/>
                  </a:lnTo>
                  <a:lnTo>
                    <a:pt x="418" y="50"/>
                  </a:lnTo>
                  <a:lnTo>
                    <a:pt x="428" y="56"/>
                  </a:lnTo>
                  <a:lnTo>
                    <a:pt x="436" y="64"/>
                  </a:lnTo>
                  <a:lnTo>
                    <a:pt x="442" y="74"/>
                  </a:lnTo>
                  <a:lnTo>
                    <a:pt x="446" y="86"/>
                  </a:lnTo>
                  <a:lnTo>
                    <a:pt x="450" y="100"/>
                  </a:lnTo>
                  <a:lnTo>
                    <a:pt x="410" y="100"/>
                  </a:lnTo>
                  <a:lnTo>
                    <a:pt x="410" y="100"/>
                  </a:lnTo>
                  <a:lnTo>
                    <a:pt x="406" y="90"/>
                  </a:lnTo>
                  <a:lnTo>
                    <a:pt x="402" y="82"/>
                  </a:lnTo>
                  <a:lnTo>
                    <a:pt x="394" y="76"/>
                  </a:lnTo>
                  <a:lnTo>
                    <a:pt x="384" y="76"/>
                  </a:lnTo>
                  <a:lnTo>
                    <a:pt x="384" y="76"/>
                  </a:lnTo>
                  <a:lnTo>
                    <a:pt x="378" y="76"/>
                  </a:lnTo>
                  <a:lnTo>
                    <a:pt x="372" y="78"/>
                  </a:lnTo>
                  <a:lnTo>
                    <a:pt x="366" y="82"/>
                  </a:lnTo>
                  <a:lnTo>
                    <a:pt x="362" y="86"/>
                  </a:lnTo>
                  <a:lnTo>
                    <a:pt x="358" y="92"/>
                  </a:lnTo>
                  <a:lnTo>
                    <a:pt x="356" y="100"/>
                  </a:lnTo>
                  <a:lnTo>
                    <a:pt x="354" y="108"/>
                  </a:lnTo>
                  <a:lnTo>
                    <a:pt x="354" y="120"/>
                  </a:lnTo>
                  <a:lnTo>
                    <a:pt x="354" y="124"/>
                  </a:lnTo>
                  <a:lnTo>
                    <a:pt x="354" y="124"/>
                  </a:lnTo>
                  <a:lnTo>
                    <a:pt x="356" y="144"/>
                  </a:lnTo>
                  <a:lnTo>
                    <a:pt x="358" y="152"/>
                  </a:lnTo>
                  <a:lnTo>
                    <a:pt x="362" y="158"/>
                  </a:lnTo>
                  <a:lnTo>
                    <a:pt x="366" y="162"/>
                  </a:lnTo>
                  <a:lnTo>
                    <a:pt x="372" y="166"/>
                  </a:lnTo>
                  <a:lnTo>
                    <a:pt x="378" y="168"/>
                  </a:lnTo>
                  <a:lnTo>
                    <a:pt x="384" y="168"/>
                  </a:lnTo>
                  <a:lnTo>
                    <a:pt x="384" y="168"/>
                  </a:lnTo>
                  <a:lnTo>
                    <a:pt x="394" y="166"/>
                  </a:lnTo>
                  <a:lnTo>
                    <a:pt x="402" y="160"/>
                  </a:lnTo>
                  <a:lnTo>
                    <a:pt x="408" y="152"/>
                  </a:lnTo>
                  <a:lnTo>
                    <a:pt x="412" y="140"/>
                  </a:lnTo>
                  <a:lnTo>
                    <a:pt x="450" y="140"/>
                  </a:lnTo>
                  <a:lnTo>
                    <a:pt x="450" y="140"/>
                  </a:lnTo>
                  <a:lnTo>
                    <a:pt x="448" y="154"/>
                  </a:lnTo>
                  <a:lnTo>
                    <a:pt x="444" y="164"/>
                  </a:lnTo>
                  <a:lnTo>
                    <a:pt x="438" y="174"/>
                  </a:lnTo>
                  <a:lnTo>
                    <a:pt x="430" y="184"/>
                  </a:lnTo>
                  <a:lnTo>
                    <a:pt x="422" y="190"/>
                  </a:lnTo>
                  <a:lnTo>
                    <a:pt x="410" y="196"/>
                  </a:lnTo>
                  <a:lnTo>
                    <a:pt x="398" y="198"/>
                  </a:lnTo>
                  <a:lnTo>
                    <a:pt x="384" y="200"/>
                  </a:lnTo>
                  <a:lnTo>
                    <a:pt x="384" y="200"/>
                  </a:lnTo>
                  <a:close/>
                  <a:moveTo>
                    <a:pt x="540" y="200"/>
                  </a:moveTo>
                  <a:lnTo>
                    <a:pt x="540" y="200"/>
                  </a:lnTo>
                  <a:lnTo>
                    <a:pt x="526" y="198"/>
                  </a:lnTo>
                  <a:lnTo>
                    <a:pt x="512" y="194"/>
                  </a:lnTo>
                  <a:lnTo>
                    <a:pt x="498" y="188"/>
                  </a:lnTo>
                  <a:lnTo>
                    <a:pt x="488" y="180"/>
                  </a:lnTo>
                  <a:lnTo>
                    <a:pt x="480" y="170"/>
                  </a:lnTo>
                  <a:lnTo>
                    <a:pt x="474" y="156"/>
                  </a:lnTo>
                  <a:lnTo>
                    <a:pt x="470" y="142"/>
                  </a:lnTo>
                  <a:lnTo>
                    <a:pt x="468" y="124"/>
                  </a:lnTo>
                  <a:lnTo>
                    <a:pt x="468" y="120"/>
                  </a:lnTo>
                  <a:lnTo>
                    <a:pt x="468" y="120"/>
                  </a:lnTo>
                  <a:lnTo>
                    <a:pt x="470" y="102"/>
                  </a:lnTo>
                  <a:lnTo>
                    <a:pt x="474" y="88"/>
                  </a:lnTo>
                  <a:lnTo>
                    <a:pt x="480" y="74"/>
                  </a:lnTo>
                  <a:lnTo>
                    <a:pt x="488" y="62"/>
                  </a:lnTo>
                  <a:lnTo>
                    <a:pt x="500" y="54"/>
                  </a:lnTo>
                  <a:lnTo>
                    <a:pt x="512" y="48"/>
                  </a:lnTo>
                  <a:lnTo>
                    <a:pt x="524" y="44"/>
                  </a:lnTo>
                  <a:lnTo>
                    <a:pt x="540" y="42"/>
                  </a:lnTo>
                  <a:lnTo>
                    <a:pt x="540" y="42"/>
                  </a:lnTo>
                  <a:lnTo>
                    <a:pt x="554" y="44"/>
                  </a:lnTo>
                  <a:lnTo>
                    <a:pt x="566" y="46"/>
                  </a:lnTo>
                  <a:lnTo>
                    <a:pt x="578" y="52"/>
                  </a:lnTo>
                  <a:lnTo>
                    <a:pt x="588" y="60"/>
                  </a:lnTo>
                  <a:lnTo>
                    <a:pt x="596" y="70"/>
                  </a:lnTo>
                  <a:lnTo>
                    <a:pt x="602" y="82"/>
                  </a:lnTo>
                  <a:lnTo>
                    <a:pt x="606" y="96"/>
                  </a:lnTo>
                  <a:lnTo>
                    <a:pt x="608" y="114"/>
                  </a:lnTo>
                  <a:lnTo>
                    <a:pt x="608" y="132"/>
                  </a:lnTo>
                  <a:lnTo>
                    <a:pt x="510" y="132"/>
                  </a:lnTo>
                  <a:lnTo>
                    <a:pt x="510" y="132"/>
                  </a:lnTo>
                  <a:lnTo>
                    <a:pt x="514" y="148"/>
                  </a:lnTo>
                  <a:lnTo>
                    <a:pt x="516" y="156"/>
                  </a:lnTo>
                  <a:lnTo>
                    <a:pt x="520" y="160"/>
                  </a:lnTo>
                  <a:lnTo>
                    <a:pt x="524" y="164"/>
                  </a:lnTo>
                  <a:lnTo>
                    <a:pt x="530" y="168"/>
                  </a:lnTo>
                  <a:lnTo>
                    <a:pt x="542" y="170"/>
                  </a:lnTo>
                  <a:lnTo>
                    <a:pt x="542" y="170"/>
                  </a:lnTo>
                  <a:lnTo>
                    <a:pt x="552" y="168"/>
                  </a:lnTo>
                  <a:lnTo>
                    <a:pt x="560" y="164"/>
                  </a:lnTo>
                  <a:lnTo>
                    <a:pt x="566" y="158"/>
                  </a:lnTo>
                  <a:lnTo>
                    <a:pt x="570" y="150"/>
                  </a:lnTo>
                  <a:lnTo>
                    <a:pt x="608" y="150"/>
                  </a:lnTo>
                  <a:lnTo>
                    <a:pt x="608" y="150"/>
                  </a:lnTo>
                  <a:lnTo>
                    <a:pt x="606" y="160"/>
                  </a:lnTo>
                  <a:lnTo>
                    <a:pt x="602" y="170"/>
                  </a:lnTo>
                  <a:lnTo>
                    <a:pt x="596" y="178"/>
                  </a:lnTo>
                  <a:lnTo>
                    <a:pt x="588" y="186"/>
                  </a:lnTo>
                  <a:lnTo>
                    <a:pt x="578" y="192"/>
                  </a:lnTo>
                  <a:lnTo>
                    <a:pt x="568" y="196"/>
                  </a:lnTo>
                  <a:lnTo>
                    <a:pt x="556" y="198"/>
                  </a:lnTo>
                  <a:lnTo>
                    <a:pt x="540" y="200"/>
                  </a:lnTo>
                  <a:lnTo>
                    <a:pt x="540" y="200"/>
                  </a:lnTo>
                  <a:close/>
                  <a:moveTo>
                    <a:pt x="512" y="104"/>
                  </a:moveTo>
                  <a:lnTo>
                    <a:pt x="568" y="104"/>
                  </a:lnTo>
                  <a:lnTo>
                    <a:pt x="568" y="104"/>
                  </a:lnTo>
                  <a:lnTo>
                    <a:pt x="566" y="90"/>
                  </a:lnTo>
                  <a:lnTo>
                    <a:pt x="562" y="84"/>
                  </a:lnTo>
                  <a:lnTo>
                    <a:pt x="560" y="80"/>
                  </a:lnTo>
                  <a:lnTo>
                    <a:pt x="556" y="76"/>
                  </a:lnTo>
                  <a:lnTo>
                    <a:pt x="552" y="74"/>
                  </a:lnTo>
                  <a:lnTo>
                    <a:pt x="540" y="72"/>
                  </a:lnTo>
                  <a:lnTo>
                    <a:pt x="540" y="72"/>
                  </a:lnTo>
                  <a:lnTo>
                    <a:pt x="530" y="74"/>
                  </a:lnTo>
                  <a:lnTo>
                    <a:pt x="522" y="78"/>
                  </a:lnTo>
                  <a:lnTo>
                    <a:pt x="518" y="82"/>
                  </a:lnTo>
                  <a:lnTo>
                    <a:pt x="516" y="88"/>
                  </a:lnTo>
                  <a:lnTo>
                    <a:pt x="512" y="104"/>
                  </a:lnTo>
                  <a:lnTo>
                    <a:pt x="512" y="104"/>
                  </a:lnTo>
                  <a:close/>
                  <a:moveTo>
                    <a:pt x="634" y="46"/>
                  </a:moveTo>
                  <a:lnTo>
                    <a:pt x="675" y="46"/>
                  </a:lnTo>
                  <a:lnTo>
                    <a:pt x="675" y="68"/>
                  </a:lnTo>
                  <a:lnTo>
                    <a:pt x="675" y="68"/>
                  </a:lnTo>
                  <a:lnTo>
                    <a:pt x="683" y="58"/>
                  </a:lnTo>
                  <a:lnTo>
                    <a:pt x="693" y="50"/>
                  </a:lnTo>
                  <a:lnTo>
                    <a:pt x="705" y="44"/>
                  </a:lnTo>
                  <a:lnTo>
                    <a:pt x="721" y="42"/>
                  </a:lnTo>
                  <a:lnTo>
                    <a:pt x="721" y="42"/>
                  </a:lnTo>
                  <a:lnTo>
                    <a:pt x="731" y="44"/>
                  </a:lnTo>
                  <a:lnTo>
                    <a:pt x="739" y="46"/>
                  </a:lnTo>
                  <a:lnTo>
                    <a:pt x="747" y="50"/>
                  </a:lnTo>
                  <a:lnTo>
                    <a:pt x="753" y="56"/>
                  </a:lnTo>
                  <a:lnTo>
                    <a:pt x="759" y="62"/>
                  </a:lnTo>
                  <a:lnTo>
                    <a:pt x="763" y="72"/>
                  </a:lnTo>
                  <a:lnTo>
                    <a:pt x="765" y="82"/>
                  </a:lnTo>
                  <a:lnTo>
                    <a:pt x="767" y="96"/>
                  </a:lnTo>
                  <a:lnTo>
                    <a:pt x="767" y="196"/>
                  </a:lnTo>
                  <a:lnTo>
                    <a:pt x="725" y="196"/>
                  </a:lnTo>
                  <a:lnTo>
                    <a:pt x="725" y="102"/>
                  </a:lnTo>
                  <a:lnTo>
                    <a:pt x="725" y="102"/>
                  </a:lnTo>
                  <a:lnTo>
                    <a:pt x="723" y="90"/>
                  </a:lnTo>
                  <a:lnTo>
                    <a:pt x="719" y="82"/>
                  </a:lnTo>
                  <a:lnTo>
                    <a:pt x="711" y="78"/>
                  </a:lnTo>
                  <a:lnTo>
                    <a:pt x="701" y="76"/>
                  </a:lnTo>
                  <a:lnTo>
                    <a:pt x="701" y="76"/>
                  </a:lnTo>
                  <a:lnTo>
                    <a:pt x="691" y="78"/>
                  </a:lnTo>
                  <a:lnTo>
                    <a:pt x="683" y="84"/>
                  </a:lnTo>
                  <a:lnTo>
                    <a:pt x="677" y="92"/>
                  </a:lnTo>
                  <a:lnTo>
                    <a:pt x="675" y="104"/>
                  </a:lnTo>
                  <a:lnTo>
                    <a:pt x="675" y="196"/>
                  </a:lnTo>
                  <a:lnTo>
                    <a:pt x="634" y="196"/>
                  </a:lnTo>
                  <a:lnTo>
                    <a:pt x="634" y="46"/>
                  </a:lnTo>
                  <a:close/>
                  <a:moveTo>
                    <a:pt x="845" y="0"/>
                  </a:moveTo>
                  <a:lnTo>
                    <a:pt x="845" y="46"/>
                  </a:lnTo>
                  <a:lnTo>
                    <a:pt x="873" y="46"/>
                  </a:lnTo>
                  <a:lnTo>
                    <a:pt x="873" y="78"/>
                  </a:lnTo>
                  <a:lnTo>
                    <a:pt x="845" y="78"/>
                  </a:lnTo>
                  <a:lnTo>
                    <a:pt x="845" y="148"/>
                  </a:lnTo>
                  <a:lnTo>
                    <a:pt x="845" y="148"/>
                  </a:lnTo>
                  <a:lnTo>
                    <a:pt x="845" y="156"/>
                  </a:lnTo>
                  <a:lnTo>
                    <a:pt x="849" y="162"/>
                  </a:lnTo>
                  <a:lnTo>
                    <a:pt x="853" y="164"/>
                  </a:lnTo>
                  <a:lnTo>
                    <a:pt x="859" y="166"/>
                  </a:lnTo>
                  <a:lnTo>
                    <a:pt x="859" y="166"/>
                  </a:lnTo>
                  <a:lnTo>
                    <a:pt x="869" y="164"/>
                  </a:lnTo>
                  <a:lnTo>
                    <a:pt x="875" y="162"/>
                  </a:lnTo>
                  <a:lnTo>
                    <a:pt x="875" y="196"/>
                  </a:lnTo>
                  <a:lnTo>
                    <a:pt x="875" y="196"/>
                  </a:lnTo>
                  <a:lnTo>
                    <a:pt x="865" y="198"/>
                  </a:lnTo>
                  <a:lnTo>
                    <a:pt x="851" y="198"/>
                  </a:lnTo>
                  <a:lnTo>
                    <a:pt x="851" y="198"/>
                  </a:lnTo>
                  <a:lnTo>
                    <a:pt x="839" y="198"/>
                  </a:lnTo>
                  <a:lnTo>
                    <a:pt x="829" y="196"/>
                  </a:lnTo>
                  <a:lnTo>
                    <a:pt x="821" y="192"/>
                  </a:lnTo>
                  <a:lnTo>
                    <a:pt x="815" y="188"/>
                  </a:lnTo>
                  <a:lnTo>
                    <a:pt x="809" y="180"/>
                  </a:lnTo>
                  <a:lnTo>
                    <a:pt x="805" y="172"/>
                  </a:lnTo>
                  <a:lnTo>
                    <a:pt x="803" y="164"/>
                  </a:lnTo>
                  <a:lnTo>
                    <a:pt x="803" y="152"/>
                  </a:lnTo>
                  <a:lnTo>
                    <a:pt x="803" y="78"/>
                  </a:lnTo>
                  <a:lnTo>
                    <a:pt x="785" y="78"/>
                  </a:lnTo>
                  <a:lnTo>
                    <a:pt x="785" y="46"/>
                  </a:lnTo>
                  <a:lnTo>
                    <a:pt x="803" y="46"/>
                  </a:lnTo>
                  <a:lnTo>
                    <a:pt x="803" y="18"/>
                  </a:lnTo>
                  <a:lnTo>
                    <a:pt x="845" y="0"/>
                  </a:lnTo>
                  <a:close/>
                  <a:moveTo>
                    <a:pt x="1033" y="196"/>
                  </a:moveTo>
                  <a:lnTo>
                    <a:pt x="991" y="196"/>
                  </a:lnTo>
                  <a:lnTo>
                    <a:pt x="991" y="174"/>
                  </a:lnTo>
                  <a:lnTo>
                    <a:pt x="991" y="174"/>
                  </a:lnTo>
                  <a:lnTo>
                    <a:pt x="983" y="184"/>
                  </a:lnTo>
                  <a:lnTo>
                    <a:pt x="973" y="192"/>
                  </a:lnTo>
                  <a:lnTo>
                    <a:pt x="961" y="198"/>
                  </a:lnTo>
                  <a:lnTo>
                    <a:pt x="947" y="200"/>
                  </a:lnTo>
                  <a:lnTo>
                    <a:pt x="947" y="200"/>
                  </a:lnTo>
                  <a:lnTo>
                    <a:pt x="937" y="198"/>
                  </a:lnTo>
                  <a:lnTo>
                    <a:pt x="927" y="196"/>
                  </a:lnTo>
                  <a:lnTo>
                    <a:pt x="919" y="192"/>
                  </a:lnTo>
                  <a:lnTo>
                    <a:pt x="913" y="188"/>
                  </a:lnTo>
                  <a:lnTo>
                    <a:pt x="907" y="180"/>
                  </a:lnTo>
                  <a:lnTo>
                    <a:pt x="903" y="170"/>
                  </a:lnTo>
                  <a:lnTo>
                    <a:pt x="901" y="160"/>
                  </a:lnTo>
                  <a:lnTo>
                    <a:pt x="899" y="148"/>
                  </a:lnTo>
                  <a:lnTo>
                    <a:pt x="899" y="46"/>
                  </a:lnTo>
                  <a:lnTo>
                    <a:pt x="941" y="46"/>
                  </a:lnTo>
                  <a:lnTo>
                    <a:pt x="941" y="142"/>
                  </a:lnTo>
                  <a:lnTo>
                    <a:pt x="941" y="142"/>
                  </a:lnTo>
                  <a:lnTo>
                    <a:pt x="943" y="152"/>
                  </a:lnTo>
                  <a:lnTo>
                    <a:pt x="947" y="160"/>
                  </a:lnTo>
                  <a:lnTo>
                    <a:pt x="953" y="166"/>
                  </a:lnTo>
                  <a:lnTo>
                    <a:pt x="963" y="166"/>
                  </a:lnTo>
                  <a:lnTo>
                    <a:pt x="963" y="166"/>
                  </a:lnTo>
                  <a:lnTo>
                    <a:pt x="973" y="166"/>
                  </a:lnTo>
                  <a:lnTo>
                    <a:pt x="983" y="160"/>
                  </a:lnTo>
                  <a:lnTo>
                    <a:pt x="989" y="152"/>
                  </a:lnTo>
                  <a:lnTo>
                    <a:pt x="991" y="138"/>
                  </a:lnTo>
                  <a:lnTo>
                    <a:pt x="991" y="46"/>
                  </a:lnTo>
                  <a:lnTo>
                    <a:pt x="1033" y="46"/>
                  </a:lnTo>
                  <a:lnTo>
                    <a:pt x="1033" y="196"/>
                  </a:lnTo>
                  <a:close/>
                  <a:moveTo>
                    <a:pt x="1063" y="46"/>
                  </a:moveTo>
                  <a:lnTo>
                    <a:pt x="1105" y="46"/>
                  </a:lnTo>
                  <a:lnTo>
                    <a:pt x="1105" y="74"/>
                  </a:lnTo>
                  <a:lnTo>
                    <a:pt x="1105" y="74"/>
                  </a:lnTo>
                  <a:lnTo>
                    <a:pt x="1113" y="60"/>
                  </a:lnTo>
                  <a:lnTo>
                    <a:pt x="1123" y="52"/>
                  </a:lnTo>
                  <a:lnTo>
                    <a:pt x="1135" y="46"/>
                  </a:lnTo>
                  <a:lnTo>
                    <a:pt x="1149" y="44"/>
                  </a:lnTo>
                  <a:lnTo>
                    <a:pt x="1149" y="86"/>
                  </a:lnTo>
                  <a:lnTo>
                    <a:pt x="1149" y="86"/>
                  </a:lnTo>
                  <a:lnTo>
                    <a:pt x="1131" y="88"/>
                  </a:lnTo>
                  <a:lnTo>
                    <a:pt x="1123" y="90"/>
                  </a:lnTo>
                  <a:lnTo>
                    <a:pt x="1117" y="92"/>
                  </a:lnTo>
                  <a:lnTo>
                    <a:pt x="1111" y="98"/>
                  </a:lnTo>
                  <a:lnTo>
                    <a:pt x="1107" y="104"/>
                  </a:lnTo>
                  <a:lnTo>
                    <a:pt x="1105" y="110"/>
                  </a:lnTo>
                  <a:lnTo>
                    <a:pt x="1105" y="120"/>
                  </a:lnTo>
                  <a:lnTo>
                    <a:pt x="1105" y="196"/>
                  </a:lnTo>
                  <a:lnTo>
                    <a:pt x="1063" y="196"/>
                  </a:lnTo>
                  <a:lnTo>
                    <a:pt x="1063" y="46"/>
                  </a:lnTo>
                  <a:close/>
                  <a:moveTo>
                    <a:pt x="1237" y="200"/>
                  </a:moveTo>
                  <a:lnTo>
                    <a:pt x="1237" y="200"/>
                  </a:lnTo>
                  <a:lnTo>
                    <a:pt x="1221" y="198"/>
                  </a:lnTo>
                  <a:lnTo>
                    <a:pt x="1207" y="194"/>
                  </a:lnTo>
                  <a:lnTo>
                    <a:pt x="1195" y="188"/>
                  </a:lnTo>
                  <a:lnTo>
                    <a:pt x="1183" y="180"/>
                  </a:lnTo>
                  <a:lnTo>
                    <a:pt x="1175" y="170"/>
                  </a:lnTo>
                  <a:lnTo>
                    <a:pt x="1169" y="156"/>
                  </a:lnTo>
                  <a:lnTo>
                    <a:pt x="1165" y="142"/>
                  </a:lnTo>
                  <a:lnTo>
                    <a:pt x="1163" y="124"/>
                  </a:lnTo>
                  <a:lnTo>
                    <a:pt x="1163" y="120"/>
                  </a:lnTo>
                  <a:lnTo>
                    <a:pt x="1163" y="120"/>
                  </a:lnTo>
                  <a:lnTo>
                    <a:pt x="1165" y="102"/>
                  </a:lnTo>
                  <a:lnTo>
                    <a:pt x="1169" y="88"/>
                  </a:lnTo>
                  <a:lnTo>
                    <a:pt x="1175" y="74"/>
                  </a:lnTo>
                  <a:lnTo>
                    <a:pt x="1183" y="62"/>
                  </a:lnTo>
                  <a:lnTo>
                    <a:pt x="1195" y="54"/>
                  </a:lnTo>
                  <a:lnTo>
                    <a:pt x="1207" y="48"/>
                  </a:lnTo>
                  <a:lnTo>
                    <a:pt x="1221" y="44"/>
                  </a:lnTo>
                  <a:lnTo>
                    <a:pt x="1235" y="42"/>
                  </a:lnTo>
                  <a:lnTo>
                    <a:pt x="1235" y="42"/>
                  </a:lnTo>
                  <a:lnTo>
                    <a:pt x="1249" y="44"/>
                  </a:lnTo>
                  <a:lnTo>
                    <a:pt x="1261" y="46"/>
                  </a:lnTo>
                  <a:lnTo>
                    <a:pt x="1273" y="52"/>
                  </a:lnTo>
                  <a:lnTo>
                    <a:pt x="1283" y="60"/>
                  </a:lnTo>
                  <a:lnTo>
                    <a:pt x="1291" y="70"/>
                  </a:lnTo>
                  <a:lnTo>
                    <a:pt x="1299" y="82"/>
                  </a:lnTo>
                  <a:lnTo>
                    <a:pt x="1303" y="96"/>
                  </a:lnTo>
                  <a:lnTo>
                    <a:pt x="1303" y="114"/>
                  </a:lnTo>
                  <a:lnTo>
                    <a:pt x="1303" y="132"/>
                  </a:lnTo>
                  <a:lnTo>
                    <a:pt x="1205" y="132"/>
                  </a:lnTo>
                  <a:lnTo>
                    <a:pt x="1205" y="132"/>
                  </a:lnTo>
                  <a:lnTo>
                    <a:pt x="1209" y="148"/>
                  </a:lnTo>
                  <a:lnTo>
                    <a:pt x="1211" y="156"/>
                  </a:lnTo>
                  <a:lnTo>
                    <a:pt x="1215" y="160"/>
                  </a:lnTo>
                  <a:lnTo>
                    <a:pt x="1219" y="164"/>
                  </a:lnTo>
                  <a:lnTo>
                    <a:pt x="1225" y="168"/>
                  </a:lnTo>
                  <a:lnTo>
                    <a:pt x="1237" y="170"/>
                  </a:lnTo>
                  <a:lnTo>
                    <a:pt x="1237" y="170"/>
                  </a:lnTo>
                  <a:lnTo>
                    <a:pt x="1247" y="168"/>
                  </a:lnTo>
                  <a:lnTo>
                    <a:pt x="1257" y="164"/>
                  </a:lnTo>
                  <a:lnTo>
                    <a:pt x="1261" y="158"/>
                  </a:lnTo>
                  <a:lnTo>
                    <a:pt x="1265" y="150"/>
                  </a:lnTo>
                  <a:lnTo>
                    <a:pt x="1303" y="150"/>
                  </a:lnTo>
                  <a:lnTo>
                    <a:pt x="1303" y="150"/>
                  </a:lnTo>
                  <a:lnTo>
                    <a:pt x="1301" y="160"/>
                  </a:lnTo>
                  <a:lnTo>
                    <a:pt x="1297" y="170"/>
                  </a:lnTo>
                  <a:lnTo>
                    <a:pt x="1291" y="178"/>
                  </a:lnTo>
                  <a:lnTo>
                    <a:pt x="1283" y="186"/>
                  </a:lnTo>
                  <a:lnTo>
                    <a:pt x="1273" y="192"/>
                  </a:lnTo>
                  <a:lnTo>
                    <a:pt x="1263" y="196"/>
                  </a:lnTo>
                  <a:lnTo>
                    <a:pt x="1251" y="198"/>
                  </a:lnTo>
                  <a:lnTo>
                    <a:pt x="1237" y="200"/>
                  </a:lnTo>
                  <a:lnTo>
                    <a:pt x="1237" y="200"/>
                  </a:lnTo>
                  <a:close/>
                  <a:moveTo>
                    <a:pt x="1207" y="104"/>
                  </a:moveTo>
                  <a:lnTo>
                    <a:pt x="1263" y="104"/>
                  </a:lnTo>
                  <a:lnTo>
                    <a:pt x="1263" y="104"/>
                  </a:lnTo>
                  <a:lnTo>
                    <a:pt x="1261" y="90"/>
                  </a:lnTo>
                  <a:lnTo>
                    <a:pt x="1259" y="84"/>
                  </a:lnTo>
                  <a:lnTo>
                    <a:pt x="1255" y="80"/>
                  </a:lnTo>
                  <a:lnTo>
                    <a:pt x="1251" y="76"/>
                  </a:lnTo>
                  <a:lnTo>
                    <a:pt x="1247" y="74"/>
                  </a:lnTo>
                  <a:lnTo>
                    <a:pt x="1235" y="72"/>
                  </a:lnTo>
                  <a:lnTo>
                    <a:pt x="1235" y="72"/>
                  </a:lnTo>
                  <a:lnTo>
                    <a:pt x="1225" y="74"/>
                  </a:lnTo>
                  <a:lnTo>
                    <a:pt x="1217" y="78"/>
                  </a:lnTo>
                  <a:lnTo>
                    <a:pt x="1213" y="82"/>
                  </a:lnTo>
                  <a:lnTo>
                    <a:pt x="1211" y="88"/>
                  </a:lnTo>
                  <a:lnTo>
                    <a:pt x="1207" y="104"/>
                  </a:lnTo>
                  <a:lnTo>
                    <a:pt x="1207" y="10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49853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asic + Border">
    <p:bg>
      <p:bgPr>
        <a:gradFill flip="none" rotWithShape="1">
          <a:gsLst>
            <a:gs pos="50000">
              <a:schemeClr val="accent4"/>
            </a:gs>
            <a:gs pos="0">
              <a:srgbClr val="FE7800"/>
            </a:gs>
            <a:gs pos="100000">
              <a:schemeClr val="accent5">
                <a:lumMod val="5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53CF1DF-9B7F-5DBF-AD3F-019D2F05595B}"/>
              </a:ext>
            </a:extLst>
          </p:cNvPr>
          <p:cNvSpPr/>
          <p:nvPr userDrawn="1"/>
        </p:nvSpPr>
        <p:spPr>
          <a:xfrm>
            <a:off x="133350" y="137160"/>
            <a:ext cx="11925301" cy="6583680"/>
          </a:xfrm>
          <a:prstGeom prst="rect">
            <a:avLst/>
          </a:prstGeom>
          <a:solidFill>
            <a:schemeClr val="bg1"/>
          </a:solidFill>
          <a:ln w="28575" cap="rnd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925DDF1-1393-B2A2-044D-22EC4F0E9A0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25462" t="4346" b="8641"/>
          <a:stretch/>
        </p:blipFill>
        <p:spPr>
          <a:xfrm>
            <a:off x="7593496" y="3794760"/>
            <a:ext cx="4465154" cy="2926080"/>
          </a:xfrm>
          <a:prstGeom prst="rect">
            <a:avLst/>
          </a:prstGeom>
        </p:spPr>
      </p:pic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0DD5C24-99EE-FB73-DCB5-08D22C9150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552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DD5C24-99EE-FB73-DCB5-08D22C9150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65760"/>
          </a:xfrm>
        </p:spPr>
        <p:txBody>
          <a:bodyPr vert="horz"/>
          <a:lstStyle>
            <a:lvl1pPr marL="0" indent="0">
              <a:buFont typeface="Arial" panose="020B0604020202020204" pitchFamily="34" charset="0"/>
              <a:buNone/>
              <a:defRPr sz="2800" b="0">
                <a:latin typeface="Graphik Medium" panose="020B0603030202060203" pitchFamily="34" charset="0"/>
              </a:defRPr>
            </a:lvl1pPr>
          </a:lstStyle>
          <a:p>
            <a:r>
              <a:rPr lang="en-GB"/>
              <a:t>Place headline here (28pt, min 30pt)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5516005-58C3-921F-01B1-DC107F5A58BE}"/>
              </a:ext>
            </a:extLst>
          </p:cNvPr>
          <p:cNvSpPr txBox="1"/>
          <p:nvPr userDrawn="1"/>
        </p:nvSpPr>
        <p:spPr>
          <a:xfrm>
            <a:off x="8424570" y="6408847"/>
            <a:ext cx="311211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b="1">
                <a:solidFill>
                  <a:schemeClr val="bg1">
                    <a:alpha val="75000"/>
                  </a:schemeClr>
                </a:solidFill>
              </a:rPr>
              <a:t>Copyright © 2025 Accenture. All rights reserved.</a:t>
            </a:r>
            <a:endParaRPr lang="en-US" b="1" noProof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5C765A3-3AA0-2536-6C9C-29E6102FDE60}"/>
              </a:ext>
            </a:extLst>
          </p:cNvPr>
          <p:cNvSpPr txBox="1"/>
          <p:nvPr userDrawn="1"/>
        </p:nvSpPr>
        <p:spPr>
          <a:xfrm>
            <a:off x="11536680" y="6408847"/>
            <a:ext cx="27432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b="1" smtClean="0">
                <a:solidFill>
                  <a:schemeClr val="bg1">
                    <a:alpha val="75000"/>
                  </a:schemeClr>
                </a:solidFill>
              </a:rPr>
              <a:t>‹#›</a:t>
            </a:fld>
            <a:endParaRPr lang="en-US" b="1" noProof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E368298-636E-04BD-3BD4-0CB8AD7230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755652"/>
            <a:ext cx="11430000" cy="27432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160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defTabSz="914400">
              <a:lnSpc>
                <a:spcPct val="80000"/>
              </a:lnSpc>
              <a:spcBef>
                <a:spcPct val="0"/>
              </a:spcBef>
            </a:pPr>
            <a:r>
              <a:rPr lang="en-US"/>
              <a:t>Subtitle (16pt)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E970A7D-A99A-909D-32E8-B3AB76A94B83}"/>
              </a:ext>
            </a:extLst>
          </p:cNvPr>
          <p:cNvGrpSpPr/>
          <p:nvPr userDrawn="1"/>
        </p:nvGrpSpPr>
        <p:grpSpPr>
          <a:xfrm>
            <a:off x="400050" y="6345484"/>
            <a:ext cx="856530" cy="225127"/>
            <a:chOff x="400050" y="6345484"/>
            <a:chExt cx="856530" cy="225127"/>
          </a:xfrm>
        </p:grpSpPr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BC278635-22F7-9D6C-0E93-EF640F07A0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1647" y="6345484"/>
              <a:ext cx="84141" cy="89456"/>
            </a:xfrm>
            <a:custGeom>
              <a:avLst/>
              <a:gdLst>
                <a:gd name="T0" fmla="*/ 0 w 128"/>
                <a:gd name="T1" fmla="*/ 96 h 136"/>
                <a:gd name="T2" fmla="*/ 76 w 128"/>
                <a:gd name="T3" fmla="*/ 68 h 136"/>
                <a:gd name="T4" fmla="*/ 0 w 128"/>
                <a:gd name="T5" fmla="*/ 38 h 136"/>
                <a:gd name="T6" fmla="*/ 0 w 128"/>
                <a:gd name="T7" fmla="*/ 0 h 136"/>
                <a:gd name="T8" fmla="*/ 128 w 128"/>
                <a:gd name="T9" fmla="*/ 52 h 136"/>
                <a:gd name="T10" fmla="*/ 128 w 128"/>
                <a:gd name="T11" fmla="*/ 84 h 136"/>
                <a:gd name="T12" fmla="*/ 0 w 128"/>
                <a:gd name="T13" fmla="*/ 136 h 136"/>
                <a:gd name="T14" fmla="*/ 0 w 128"/>
                <a:gd name="T15" fmla="*/ 9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36">
                  <a:moveTo>
                    <a:pt x="0" y="96"/>
                  </a:moveTo>
                  <a:lnTo>
                    <a:pt x="76" y="68"/>
                  </a:lnTo>
                  <a:lnTo>
                    <a:pt x="0" y="38"/>
                  </a:lnTo>
                  <a:lnTo>
                    <a:pt x="0" y="0"/>
                  </a:lnTo>
                  <a:lnTo>
                    <a:pt x="128" y="52"/>
                  </a:lnTo>
                  <a:lnTo>
                    <a:pt x="128" y="84"/>
                  </a:lnTo>
                  <a:lnTo>
                    <a:pt x="0" y="136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DA7AF517-5107-3E0D-FB93-A730F281447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050" y="6439059"/>
              <a:ext cx="856530" cy="131552"/>
            </a:xfrm>
            <a:custGeom>
              <a:avLst/>
              <a:gdLst>
                <a:gd name="T0" fmla="*/ 4 w 1303"/>
                <a:gd name="T1" fmla="*/ 176 h 200"/>
                <a:gd name="T2" fmla="*/ 20 w 1303"/>
                <a:gd name="T3" fmla="*/ 116 h 200"/>
                <a:gd name="T4" fmla="*/ 88 w 1303"/>
                <a:gd name="T5" fmla="*/ 88 h 200"/>
                <a:gd name="T6" fmla="*/ 44 w 1303"/>
                <a:gd name="T7" fmla="*/ 92 h 200"/>
                <a:gd name="T8" fmla="*/ 44 w 1303"/>
                <a:gd name="T9" fmla="*/ 46 h 200"/>
                <a:gd name="T10" fmla="*/ 122 w 1303"/>
                <a:gd name="T11" fmla="*/ 62 h 200"/>
                <a:gd name="T12" fmla="*/ 84 w 1303"/>
                <a:gd name="T13" fmla="*/ 188 h 200"/>
                <a:gd name="T14" fmla="*/ 72 w 1303"/>
                <a:gd name="T15" fmla="*/ 132 h 200"/>
                <a:gd name="T16" fmla="*/ 46 w 1303"/>
                <a:gd name="T17" fmla="*/ 166 h 200"/>
                <a:gd name="T18" fmla="*/ 90 w 1303"/>
                <a:gd name="T19" fmla="*/ 146 h 200"/>
                <a:gd name="T20" fmla="*/ 166 w 1303"/>
                <a:gd name="T21" fmla="*/ 170 h 200"/>
                <a:gd name="T22" fmla="*/ 166 w 1303"/>
                <a:gd name="T23" fmla="*/ 74 h 200"/>
                <a:gd name="T24" fmla="*/ 252 w 1303"/>
                <a:gd name="T25" fmla="*/ 46 h 200"/>
                <a:gd name="T26" fmla="*/ 252 w 1303"/>
                <a:gd name="T27" fmla="*/ 100 h 200"/>
                <a:gd name="T28" fmla="*/ 210 w 1303"/>
                <a:gd name="T29" fmla="*/ 82 h 200"/>
                <a:gd name="T30" fmla="*/ 200 w 1303"/>
                <a:gd name="T31" fmla="*/ 144 h 200"/>
                <a:gd name="T32" fmla="*/ 238 w 1303"/>
                <a:gd name="T33" fmla="*/ 166 h 200"/>
                <a:gd name="T34" fmla="*/ 282 w 1303"/>
                <a:gd name="T35" fmla="*/ 174 h 200"/>
                <a:gd name="T36" fmla="*/ 384 w 1303"/>
                <a:gd name="T37" fmla="*/ 200 h 200"/>
                <a:gd name="T38" fmla="*/ 312 w 1303"/>
                <a:gd name="T39" fmla="*/ 122 h 200"/>
                <a:gd name="T40" fmla="*/ 356 w 1303"/>
                <a:gd name="T41" fmla="*/ 48 h 200"/>
                <a:gd name="T42" fmla="*/ 436 w 1303"/>
                <a:gd name="T43" fmla="*/ 64 h 200"/>
                <a:gd name="T44" fmla="*/ 394 w 1303"/>
                <a:gd name="T45" fmla="*/ 76 h 200"/>
                <a:gd name="T46" fmla="*/ 356 w 1303"/>
                <a:gd name="T47" fmla="*/ 100 h 200"/>
                <a:gd name="T48" fmla="*/ 366 w 1303"/>
                <a:gd name="T49" fmla="*/ 162 h 200"/>
                <a:gd name="T50" fmla="*/ 412 w 1303"/>
                <a:gd name="T51" fmla="*/ 140 h 200"/>
                <a:gd name="T52" fmla="*/ 410 w 1303"/>
                <a:gd name="T53" fmla="*/ 196 h 200"/>
                <a:gd name="T54" fmla="*/ 498 w 1303"/>
                <a:gd name="T55" fmla="*/ 188 h 200"/>
                <a:gd name="T56" fmla="*/ 470 w 1303"/>
                <a:gd name="T57" fmla="*/ 102 h 200"/>
                <a:gd name="T58" fmla="*/ 540 w 1303"/>
                <a:gd name="T59" fmla="*/ 42 h 200"/>
                <a:gd name="T60" fmla="*/ 608 w 1303"/>
                <a:gd name="T61" fmla="*/ 114 h 200"/>
                <a:gd name="T62" fmla="*/ 530 w 1303"/>
                <a:gd name="T63" fmla="*/ 168 h 200"/>
                <a:gd name="T64" fmla="*/ 608 w 1303"/>
                <a:gd name="T65" fmla="*/ 150 h 200"/>
                <a:gd name="T66" fmla="*/ 540 w 1303"/>
                <a:gd name="T67" fmla="*/ 200 h 200"/>
                <a:gd name="T68" fmla="*/ 556 w 1303"/>
                <a:gd name="T69" fmla="*/ 76 h 200"/>
                <a:gd name="T70" fmla="*/ 512 w 1303"/>
                <a:gd name="T71" fmla="*/ 104 h 200"/>
                <a:gd name="T72" fmla="*/ 705 w 1303"/>
                <a:gd name="T73" fmla="*/ 44 h 200"/>
                <a:gd name="T74" fmla="*/ 763 w 1303"/>
                <a:gd name="T75" fmla="*/ 72 h 200"/>
                <a:gd name="T76" fmla="*/ 719 w 1303"/>
                <a:gd name="T77" fmla="*/ 82 h 200"/>
                <a:gd name="T78" fmla="*/ 675 w 1303"/>
                <a:gd name="T79" fmla="*/ 196 h 200"/>
                <a:gd name="T80" fmla="*/ 845 w 1303"/>
                <a:gd name="T81" fmla="*/ 148 h 200"/>
                <a:gd name="T82" fmla="*/ 875 w 1303"/>
                <a:gd name="T83" fmla="*/ 162 h 200"/>
                <a:gd name="T84" fmla="*/ 821 w 1303"/>
                <a:gd name="T85" fmla="*/ 192 h 200"/>
                <a:gd name="T86" fmla="*/ 785 w 1303"/>
                <a:gd name="T87" fmla="*/ 46 h 200"/>
                <a:gd name="T88" fmla="*/ 983 w 1303"/>
                <a:gd name="T89" fmla="*/ 184 h 200"/>
                <a:gd name="T90" fmla="*/ 913 w 1303"/>
                <a:gd name="T91" fmla="*/ 188 h 200"/>
                <a:gd name="T92" fmla="*/ 941 w 1303"/>
                <a:gd name="T93" fmla="*/ 142 h 200"/>
                <a:gd name="T94" fmla="*/ 989 w 1303"/>
                <a:gd name="T95" fmla="*/ 152 h 200"/>
                <a:gd name="T96" fmla="*/ 1105 w 1303"/>
                <a:gd name="T97" fmla="*/ 74 h 200"/>
                <a:gd name="T98" fmla="*/ 1123 w 1303"/>
                <a:gd name="T99" fmla="*/ 90 h 200"/>
                <a:gd name="T100" fmla="*/ 1063 w 1303"/>
                <a:gd name="T101" fmla="*/ 46 h 200"/>
                <a:gd name="T102" fmla="*/ 1169 w 1303"/>
                <a:gd name="T103" fmla="*/ 156 h 200"/>
                <a:gd name="T104" fmla="*/ 1183 w 1303"/>
                <a:gd name="T105" fmla="*/ 62 h 200"/>
                <a:gd name="T106" fmla="*/ 1273 w 1303"/>
                <a:gd name="T107" fmla="*/ 52 h 200"/>
                <a:gd name="T108" fmla="*/ 1205 w 1303"/>
                <a:gd name="T109" fmla="*/ 132 h 200"/>
                <a:gd name="T110" fmla="*/ 1247 w 1303"/>
                <a:gd name="T111" fmla="*/ 168 h 200"/>
                <a:gd name="T112" fmla="*/ 1291 w 1303"/>
                <a:gd name="T113" fmla="*/ 178 h 200"/>
                <a:gd name="T114" fmla="*/ 1263 w 1303"/>
                <a:gd name="T115" fmla="*/ 104 h 200"/>
                <a:gd name="T116" fmla="*/ 1235 w 1303"/>
                <a:gd name="T117" fmla="*/ 7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03" h="200">
                  <a:moveTo>
                    <a:pt x="48" y="200"/>
                  </a:moveTo>
                  <a:lnTo>
                    <a:pt x="48" y="200"/>
                  </a:lnTo>
                  <a:lnTo>
                    <a:pt x="38" y="198"/>
                  </a:lnTo>
                  <a:lnTo>
                    <a:pt x="30" y="198"/>
                  </a:lnTo>
                  <a:lnTo>
                    <a:pt x="22" y="194"/>
                  </a:lnTo>
                  <a:lnTo>
                    <a:pt x="14" y="188"/>
                  </a:lnTo>
                  <a:lnTo>
                    <a:pt x="8" y="182"/>
                  </a:lnTo>
                  <a:lnTo>
                    <a:pt x="4" y="176"/>
                  </a:lnTo>
                  <a:lnTo>
                    <a:pt x="0" y="166"/>
                  </a:lnTo>
                  <a:lnTo>
                    <a:pt x="0" y="156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0" y="140"/>
                  </a:lnTo>
                  <a:lnTo>
                    <a:pt x="4" y="130"/>
                  </a:lnTo>
                  <a:lnTo>
                    <a:pt x="12" y="122"/>
                  </a:lnTo>
                  <a:lnTo>
                    <a:pt x="20" y="116"/>
                  </a:lnTo>
                  <a:lnTo>
                    <a:pt x="30" y="110"/>
                  </a:lnTo>
                  <a:lnTo>
                    <a:pt x="42" y="106"/>
                  </a:lnTo>
                  <a:lnTo>
                    <a:pt x="56" y="104"/>
                  </a:lnTo>
                  <a:lnTo>
                    <a:pt x="70" y="104"/>
                  </a:lnTo>
                  <a:lnTo>
                    <a:pt x="90" y="104"/>
                  </a:lnTo>
                  <a:lnTo>
                    <a:pt x="90" y="98"/>
                  </a:lnTo>
                  <a:lnTo>
                    <a:pt x="90" y="98"/>
                  </a:lnTo>
                  <a:lnTo>
                    <a:pt x="88" y="88"/>
                  </a:lnTo>
                  <a:lnTo>
                    <a:pt x="84" y="80"/>
                  </a:lnTo>
                  <a:lnTo>
                    <a:pt x="76" y="74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58" y="74"/>
                  </a:lnTo>
                  <a:lnTo>
                    <a:pt x="50" y="78"/>
                  </a:lnTo>
                  <a:lnTo>
                    <a:pt x="46" y="84"/>
                  </a:lnTo>
                  <a:lnTo>
                    <a:pt x="4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6" y="80"/>
                  </a:lnTo>
                  <a:lnTo>
                    <a:pt x="10" y="70"/>
                  </a:lnTo>
                  <a:lnTo>
                    <a:pt x="16" y="62"/>
                  </a:lnTo>
                  <a:lnTo>
                    <a:pt x="24" y="56"/>
                  </a:lnTo>
                  <a:lnTo>
                    <a:pt x="34" y="50"/>
                  </a:lnTo>
                  <a:lnTo>
                    <a:pt x="44" y="46"/>
                  </a:lnTo>
                  <a:lnTo>
                    <a:pt x="56" y="44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82" y="44"/>
                  </a:lnTo>
                  <a:lnTo>
                    <a:pt x="94" y="46"/>
                  </a:lnTo>
                  <a:lnTo>
                    <a:pt x="104" y="50"/>
                  </a:lnTo>
                  <a:lnTo>
                    <a:pt x="114" y="56"/>
                  </a:lnTo>
                  <a:lnTo>
                    <a:pt x="122" y="62"/>
                  </a:lnTo>
                  <a:lnTo>
                    <a:pt x="126" y="72"/>
                  </a:lnTo>
                  <a:lnTo>
                    <a:pt x="130" y="82"/>
                  </a:lnTo>
                  <a:lnTo>
                    <a:pt x="132" y="96"/>
                  </a:lnTo>
                  <a:lnTo>
                    <a:pt x="132" y="196"/>
                  </a:lnTo>
                  <a:lnTo>
                    <a:pt x="90" y="196"/>
                  </a:lnTo>
                  <a:lnTo>
                    <a:pt x="90" y="180"/>
                  </a:lnTo>
                  <a:lnTo>
                    <a:pt x="90" y="180"/>
                  </a:lnTo>
                  <a:lnTo>
                    <a:pt x="84" y="188"/>
                  </a:lnTo>
                  <a:lnTo>
                    <a:pt x="74" y="194"/>
                  </a:lnTo>
                  <a:lnTo>
                    <a:pt x="62" y="198"/>
                  </a:lnTo>
                  <a:lnTo>
                    <a:pt x="48" y="200"/>
                  </a:lnTo>
                  <a:lnTo>
                    <a:pt x="48" y="200"/>
                  </a:lnTo>
                  <a:close/>
                  <a:moveTo>
                    <a:pt x="90" y="146"/>
                  </a:moveTo>
                  <a:lnTo>
                    <a:pt x="90" y="132"/>
                  </a:lnTo>
                  <a:lnTo>
                    <a:pt x="72" y="132"/>
                  </a:lnTo>
                  <a:lnTo>
                    <a:pt x="72" y="132"/>
                  </a:lnTo>
                  <a:lnTo>
                    <a:pt x="58" y="134"/>
                  </a:lnTo>
                  <a:lnTo>
                    <a:pt x="48" y="136"/>
                  </a:lnTo>
                  <a:lnTo>
                    <a:pt x="44" y="142"/>
                  </a:lnTo>
                  <a:lnTo>
                    <a:pt x="42" y="152"/>
                  </a:lnTo>
                  <a:lnTo>
                    <a:pt x="42" y="152"/>
                  </a:lnTo>
                  <a:lnTo>
                    <a:pt x="42" y="152"/>
                  </a:lnTo>
                  <a:lnTo>
                    <a:pt x="42" y="160"/>
                  </a:lnTo>
                  <a:lnTo>
                    <a:pt x="46" y="166"/>
                  </a:lnTo>
                  <a:lnTo>
                    <a:pt x="52" y="168"/>
                  </a:lnTo>
                  <a:lnTo>
                    <a:pt x="62" y="170"/>
                  </a:lnTo>
                  <a:lnTo>
                    <a:pt x="62" y="170"/>
                  </a:lnTo>
                  <a:lnTo>
                    <a:pt x="72" y="168"/>
                  </a:lnTo>
                  <a:lnTo>
                    <a:pt x="80" y="164"/>
                  </a:lnTo>
                  <a:lnTo>
                    <a:pt x="86" y="156"/>
                  </a:lnTo>
                  <a:lnTo>
                    <a:pt x="88" y="152"/>
                  </a:lnTo>
                  <a:lnTo>
                    <a:pt x="90" y="146"/>
                  </a:lnTo>
                  <a:lnTo>
                    <a:pt x="90" y="146"/>
                  </a:lnTo>
                  <a:close/>
                  <a:moveTo>
                    <a:pt x="226" y="200"/>
                  </a:moveTo>
                  <a:lnTo>
                    <a:pt x="226" y="200"/>
                  </a:lnTo>
                  <a:lnTo>
                    <a:pt x="212" y="198"/>
                  </a:lnTo>
                  <a:lnTo>
                    <a:pt x="198" y="194"/>
                  </a:lnTo>
                  <a:lnTo>
                    <a:pt x="186" y="188"/>
                  </a:lnTo>
                  <a:lnTo>
                    <a:pt x="174" y="180"/>
                  </a:lnTo>
                  <a:lnTo>
                    <a:pt x="166" y="170"/>
                  </a:lnTo>
                  <a:lnTo>
                    <a:pt x="160" y="156"/>
                  </a:lnTo>
                  <a:lnTo>
                    <a:pt x="156" y="140"/>
                  </a:lnTo>
                  <a:lnTo>
                    <a:pt x="154" y="122"/>
                  </a:lnTo>
                  <a:lnTo>
                    <a:pt x="154" y="120"/>
                  </a:lnTo>
                  <a:lnTo>
                    <a:pt x="154" y="120"/>
                  </a:lnTo>
                  <a:lnTo>
                    <a:pt x="156" y="102"/>
                  </a:lnTo>
                  <a:lnTo>
                    <a:pt x="160" y="88"/>
                  </a:lnTo>
                  <a:lnTo>
                    <a:pt x="166" y="74"/>
                  </a:lnTo>
                  <a:lnTo>
                    <a:pt x="176" y="62"/>
                  </a:lnTo>
                  <a:lnTo>
                    <a:pt x="186" y="54"/>
                  </a:lnTo>
                  <a:lnTo>
                    <a:pt x="198" y="48"/>
                  </a:lnTo>
                  <a:lnTo>
                    <a:pt x="212" y="44"/>
                  </a:lnTo>
                  <a:lnTo>
                    <a:pt x="226" y="42"/>
                  </a:lnTo>
                  <a:lnTo>
                    <a:pt x="226" y="42"/>
                  </a:lnTo>
                  <a:lnTo>
                    <a:pt x="240" y="44"/>
                  </a:lnTo>
                  <a:lnTo>
                    <a:pt x="252" y="46"/>
                  </a:lnTo>
                  <a:lnTo>
                    <a:pt x="262" y="50"/>
                  </a:lnTo>
                  <a:lnTo>
                    <a:pt x="272" y="56"/>
                  </a:lnTo>
                  <a:lnTo>
                    <a:pt x="280" y="64"/>
                  </a:lnTo>
                  <a:lnTo>
                    <a:pt x="286" y="74"/>
                  </a:lnTo>
                  <a:lnTo>
                    <a:pt x="290" y="86"/>
                  </a:lnTo>
                  <a:lnTo>
                    <a:pt x="292" y="100"/>
                  </a:lnTo>
                  <a:lnTo>
                    <a:pt x="252" y="100"/>
                  </a:lnTo>
                  <a:lnTo>
                    <a:pt x="252" y="100"/>
                  </a:lnTo>
                  <a:lnTo>
                    <a:pt x="250" y="90"/>
                  </a:lnTo>
                  <a:lnTo>
                    <a:pt x="244" y="82"/>
                  </a:lnTo>
                  <a:lnTo>
                    <a:pt x="238" y="76"/>
                  </a:lnTo>
                  <a:lnTo>
                    <a:pt x="228" y="76"/>
                  </a:lnTo>
                  <a:lnTo>
                    <a:pt x="228" y="76"/>
                  </a:lnTo>
                  <a:lnTo>
                    <a:pt x="222" y="76"/>
                  </a:lnTo>
                  <a:lnTo>
                    <a:pt x="216" y="78"/>
                  </a:lnTo>
                  <a:lnTo>
                    <a:pt x="210" y="82"/>
                  </a:lnTo>
                  <a:lnTo>
                    <a:pt x="206" y="86"/>
                  </a:lnTo>
                  <a:lnTo>
                    <a:pt x="202" y="92"/>
                  </a:lnTo>
                  <a:lnTo>
                    <a:pt x="200" y="100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98" y="124"/>
                  </a:lnTo>
                  <a:lnTo>
                    <a:pt x="198" y="124"/>
                  </a:lnTo>
                  <a:lnTo>
                    <a:pt x="200" y="144"/>
                  </a:lnTo>
                  <a:lnTo>
                    <a:pt x="202" y="152"/>
                  </a:lnTo>
                  <a:lnTo>
                    <a:pt x="206" y="158"/>
                  </a:lnTo>
                  <a:lnTo>
                    <a:pt x="210" y="162"/>
                  </a:lnTo>
                  <a:lnTo>
                    <a:pt x="214" y="166"/>
                  </a:lnTo>
                  <a:lnTo>
                    <a:pt x="220" y="168"/>
                  </a:lnTo>
                  <a:lnTo>
                    <a:pt x="228" y="168"/>
                  </a:lnTo>
                  <a:lnTo>
                    <a:pt x="228" y="168"/>
                  </a:lnTo>
                  <a:lnTo>
                    <a:pt x="238" y="166"/>
                  </a:lnTo>
                  <a:lnTo>
                    <a:pt x="246" y="160"/>
                  </a:lnTo>
                  <a:lnTo>
                    <a:pt x="252" y="152"/>
                  </a:lnTo>
                  <a:lnTo>
                    <a:pt x="256" y="140"/>
                  </a:lnTo>
                  <a:lnTo>
                    <a:pt x="294" y="140"/>
                  </a:lnTo>
                  <a:lnTo>
                    <a:pt x="294" y="140"/>
                  </a:lnTo>
                  <a:lnTo>
                    <a:pt x="292" y="154"/>
                  </a:lnTo>
                  <a:lnTo>
                    <a:pt x="288" y="164"/>
                  </a:lnTo>
                  <a:lnTo>
                    <a:pt x="282" y="174"/>
                  </a:lnTo>
                  <a:lnTo>
                    <a:pt x="274" y="184"/>
                  </a:lnTo>
                  <a:lnTo>
                    <a:pt x="264" y="190"/>
                  </a:lnTo>
                  <a:lnTo>
                    <a:pt x="254" y="196"/>
                  </a:lnTo>
                  <a:lnTo>
                    <a:pt x="240" y="198"/>
                  </a:lnTo>
                  <a:lnTo>
                    <a:pt x="226" y="200"/>
                  </a:lnTo>
                  <a:lnTo>
                    <a:pt x="226" y="200"/>
                  </a:lnTo>
                  <a:close/>
                  <a:moveTo>
                    <a:pt x="384" y="200"/>
                  </a:moveTo>
                  <a:lnTo>
                    <a:pt x="384" y="200"/>
                  </a:lnTo>
                  <a:lnTo>
                    <a:pt x="368" y="198"/>
                  </a:lnTo>
                  <a:lnTo>
                    <a:pt x="354" y="194"/>
                  </a:lnTo>
                  <a:lnTo>
                    <a:pt x="342" y="188"/>
                  </a:lnTo>
                  <a:lnTo>
                    <a:pt x="332" y="180"/>
                  </a:lnTo>
                  <a:lnTo>
                    <a:pt x="322" y="170"/>
                  </a:lnTo>
                  <a:lnTo>
                    <a:pt x="316" y="156"/>
                  </a:lnTo>
                  <a:lnTo>
                    <a:pt x="312" y="140"/>
                  </a:lnTo>
                  <a:lnTo>
                    <a:pt x="312" y="122"/>
                  </a:lnTo>
                  <a:lnTo>
                    <a:pt x="312" y="120"/>
                  </a:lnTo>
                  <a:lnTo>
                    <a:pt x="312" y="120"/>
                  </a:lnTo>
                  <a:lnTo>
                    <a:pt x="312" y="102"/>
                  </a:lnTo>
                  <a:lnTo>
                    <a:pt x="316" y="88"/>
                  </a:lnTo>
                  <a:lnTo>
                    <a:pt x="324" y="74"/>
                  </a:lnTo>
                  <a:lnTo>
                    <a:pt x="332" y="62"/>
                  </a:lnTo>
                  <a:lnTo>
                    <a:pt x="342" y="54"/>
                  </a:lnTo>
                  <a:lnTo>
                    <a:pt x="356" y="48"/>
                  </a:lnTo>
                  <a:lnTo>
                    <a:pt x="368" y="44"/>
                  </a:lnTo>
                  <a:lnTo>
                    <a:pt x="384" y="42"/>
                  </a:lnTo>
                  <a:lnTo>
                    <a:pt x="384" y="42"/>
                  </a:lnTo>
                  <a:lnTo>
                    <a:pt x="396" y="44"/>
                  </a:lnTo>
                  <a:lnTo>
                    <a:pt x="408" y="46"/>
                  </a:lnTo>
                  <a:lnTo>
                    <a:pt x="418" y="50"/>
                  </a:lnTo>
                  <a:lnTo>
                    <a:pt x="428" y="56"/>
                  </a:lnTo>
                  <a:lnTo>
                    <a:pt x="436" y="64"/>
                  </a:lnTo>
                  <a:lnTo>
                    <a:pt x="442" y="74"/>
                  </a:lnTo>
                  <a:lnTo>
                    <a:pt x="446" y="86"/>
                  </a:lnTo>
                  <a:lnTo>
                    <a:pt x="450" y="100"/>
                  </a:lnTo>
                  <a:lnTo>
                    <a:pt x="410" y="100"/>
                  </a:lnTo>
                  <a:lnTo>
                    <a:pt x="410" y="100"/>
                  </a:lnTo>
                  <a:lnTo>
                    <a:pt x="406" y="90"/>
                  </a:lnTo>
                  <a:lnTo>
                    <a:pt x="402" y="82"/>
                  </a:lnTo>
                  <a:lnTo>
                    <a:pt x="394" y="76"/>
                  </a:lnTo>
                  <a:lnTo>
                    <a:pt x="384" y="76"/>
                  </a:lnTo>
                  <a:lnTo>
                    <a:pt x="384" y="76"/>
                  </a:lnTo>
                  <a:lnTo>
                    <a:pt x="378" y="76"/>
                  </a:lnTo>
                  <a:lnTo>
                    <a:pt x="372" y="78"/>
                  </a:lnTo>
                  <a:lnTo>
                    <a:pt x="366" y="82"/>
                  </a:lnTo>
                  <a:lnTo>
                    <a:pt x="362" y="86"/>
                  </a:lnTo>
                  <a:lnTo>
                    <a:pt x="358" y="92"/>
                  </a:lnTo>
                  <a:lnTo>
                    <a:pt x="356" y="100"/>
                  </a:lnTo>
                  <a:lnTo>
                    <a:pt x="354" y="108"/>
                  </a:lnTo>
                  <a:lnTo>
                    <a:pt x="354" y="120"/>
                  </a:lnTo>
                  <a:lnTo>
                    <a:pt x="354" y="124"/>
                  </a:lnTo>
                  <a:lnTo>
                    <a:pt x="354" y="124"/>
                  </a:lnTo>
                  <a:lnTo>
                    <a:pt x="356" y="144"/>
                  </a:lnTo>
                  <a:lnTo>
                    <a:pt x="358" y="152"/>
                  </a:lnTo>
                  <a:lnTo>
                    <a:pt x="362" y="158"/>
                  </a:lnTo>
                  <a:lnTo>
                    <a:pt x="366" y="162"/>
                  </a:lnTo>
                  <a:lnTo>
                    <a:pt x="372" y="166"/>
                  </a:lnTo>
                  <a:lnTo>
                    <a:pt x="378" y="168"/>
                  </a:lnTo>
                  <a:lnTo>
                    <a:pt x="384" y="168"/>
                  </a:lnTo>
                  <a:lnTo>
                    <a:pt x="384" y="168"/>
                  </a:lnTo>
                  <a:lnTo>
                    <a:pt x="394" y="166"/>
                  </a:lnTo>
                  <a:lnTo>
                    <a:pt x="402" y="160"/>
                  </a:lnTo>
                  <a:lnTo>
                    <a:pt x="408" y="152"/>
                  </a:lnTo>
                  <a:lnTo>
                    <a:pt x="412" y="140"/>
                  </a:lnTo>
                  <a:lnTo>
                    <a:pt x="450" y="140"/>
                  </a:lnTo>
                  <a:lnTo>
                    <a:pt x="450" y="140"/>
                  </a:lnTo>
                  <a:lnTo>
                    <a:pt x="448" y="154"/>
                  </a:lnTo>
                  <a:lnTo>
                    <a:pt x="444" y="164"/>
                  </a:lnTo>
                  <a:lnTo>
                    <a:pt x="438" y="174"/>
                  </a:lnTo>
                  <a:lnTo>
                    <a:pt x="430" y="184"/>
                  </a:lnTo>
                  <a:lnTo>
                    <a:pt x="422" y="190"/>
                  </a:lnTo>
                  <a:lnTo>
                    <a:pt x="410" y="196"/>
                  </a:lnTo>
                  <a:lnTo>
                    <a:pt x="398" y="198"/>
                  </a:lnTo>
                  <a:lnTo>
                    <a:pt x="384" y="200"/>
                  </a:lnTo>
                  <a:lnTo>
                    <a:pt x="384" y="200"/>
                  </a:lnTo>
                  <a:close/>
                  <a:moveTo>
                    <a:pt x="540" y="200"/>
                  </a:moveTo>
                  <a:lnTo>
                    <a:pt x="540" y="200"/>
                  </a:lnTo>
                  <a:lnTo>
                    <a:pt x="526" y="198"/>
                  </a:lnTo>
                  <a:lnTo>
                    <a:pt x="512" y="194"/>
                  </a:lnTo>
                  <a:lnTo>
                    <a:pt x="498" y="188"/>
                  </a:lnTo>
                  <a:lnTo>
                    <a:pt x="488" y="180"/>
                  </a:lnTo>
                  <a:lnTo>
                    <a:pt x="480" y="170"/>
                  </a:lnTo>
                  <a:lnTo>
                    <a:pt x="474" y="156"/>
                  </a:lnTo>
                  <a:lnTo>
                    <a:pt x="470" y="142"/>
                  </a:lnTo>
                  <a:lnTo>
                    <a:pt x="468" y="124"/>
                  </a:lnTo>
                  <a:lnTo>
                    <a:pt x="468" y="120"/>
                  </a:lnTo>
                  <a:lnTo>
                    <a:pt x="468" y="120"/>
                  </a:lnTo>
                  <a:lnTo>
                    <a:pt x="470" y="102"/>
                  </a:lnTo>
                  <a:lnTo>
                    <a:pt x="474" y="88"/>
                  </a:lnTo>
                  <a:lnTo>
                    <a:pt x="480" y="74"/>
                  </a:lnTo>
                  <a:lnTo>
                    <a:pt x="488" y="62"/>
                  </a:lnTo>
                  <a:lnTo>
                    <a:pt x="500" y="54"/>
                  </a:lnTo>
                  <a:lnTo>
                    <a:pt x="512" y="48"/>
                  </a:lnTo>
                  <a:lnTo>
                    <a:pt x="524" y="44"/>
                  </a:lnTo>
                  <a:lnTo>
                    <a:pt x="540" y="42"/>
                  </a:lnTo>
                  <a:lnTo>
                    <a:pt x="540" y="42"/>
                  </a:lnTo>
                  <a:lnTo>
                    <a:pt x="554" y="44"/>
                  </a:lnTo>
                  <a:lnTo>
                    <a:pt x="566" y="46"/>
                  </a:lnTo>
                  <a:lnTo>
                    <a:pt x="578" y="52"/>
                  </a:lnTo>
                  <a:lnTo>
                    <a:pt x="588" y="60"/>
                  </a:lnTo>
                  <a:lnTo>
                    <a:pt x="596" y="70"/>
                  </a:lnTo>
                  <a:lnTo>
                    <a:pt x="602" y="82"/>
                  </a:lnTo>
                  <a:lnTo>
                    <a:pt x="606" y="96"/>
                  </a:lnTo>
                  <a:lnTo>
                    <a:pt x="608" y="114"/>
                  </a:lnTo>
                  <a:lnTo>
                    <a:pt x="608" y="132"/>
                  </a:lnTo>
                  <a:lnTo>
                    <a:pt x="510" y="132"/>
                  </a:lnTo>
                  <a:lnTo>
                    <a:pt x="510" y="132"/>
                  </a:lnTo>
                  <a:lnTo>
                    <a:pt x="514" y="148"/>
                  </a:lnTo>
                  <a:lnTo>
                    <a:pt x="516" y="156"/>
                  </a:lnTo>
                  <a:lnTo>
                    <a:pt x="520" y="160"/>
                  </a:lnTo>
                  <a:lnTo>
                    <a:pt x="524" y="164"/>
                  </a:lnTo>
                  <a:lnTo>
                    <a:pt x="530" y="168"/>
                  </a:lnTo>
                  <a:lnTo>
                    <a:pt x="542" y="170"/>
                  </a:lnTo>
                  <a:lnTo>
                    <a:pt x="542" y="170"/>
                  </a:lnTo>
                  <a:lnTo>
                    <a:pt x="552" y="168"/>
                  </a:lnTo>
                  <a:lnTo>
                    <a:pt x="560" y="164"/>
                  </a:lnTo>
                  <a:lnTo>
                    <a:pt x="566" y="158"/>
                  </a:lnTo>
                  <a:lnTo>
                    <a:pt x="570" y="150"/>
                  </a:lnTo>
                  <a:lnTo>
                    <a:pt x="608" y="150"/>
                  </a:lnTo>
                  <a:lnTo>
                    <a:pt x="608" y="150"/>
                  </a:lnTo>
                  <a:lnTo>
                    <a:pt x="606" y="160"/>
                  </a:lnTo>
                  <a:lnTo>
                    <a:pt x="602" y="170"/>
                  </a:lnTo>
                  <a:lnTo>
                    <a:pt x="596" y="178"/>
                  </a:lnTo>
                  <a:lnTo>
                    <a:pt x="588" y="186"/>
                  </a:lnTo>
                  <a:lnTo>
                    <a:pt x="578" y="192"/>
                  </a:lnTo>
                  <a:lnTo>
                    <a:pt x="568" y="196"/>
                  </a:lnTo>
                  <a:lnTo>
                    <a:pt x="556" y="198"/>
                  </a:lnTo>
                  <a:lnTo>
                    <a:pt x="540" y="200"/>
                  </a:lnTo>
                  <a:lnTo>
                    <a:pt x="540" y="200"/>
                  </a:lnTo>
                  <a:close/>
                  <a:moveTo>
                    <a:pt x="512" y="104"/>
                  </a:moveTo>
                  <a:lnTo>
                    <a:pt x="568" y="104"/>
                  </a:lnTo>
                  <a:lnTo>
                    <a:pt x="568" y="104"/>
                  </a:lnTo>
                  <a:lnTo>
                    <a:pt x="566" y="90"/>
                  </a:lnTo>
                  <a:lnTo>
                    <a:pt x="562" y="84"/>
                  </a:lnTo>
                  <a:lnTo>
                    <a:pt x="560" y="80"/>
                  </a:lnTo>
                  <a:lnTo>
                    <a:pt x="556" y="76"/>
                  </a:lnTo>
                  <a:lnTo>
                    <a:pt x="552" y="74"/>
                  </a:lnTo>
                  <a:lnTo>
                    <a:pt x="540" y="72"/>
                  </a:lnTo>
                  <a:lnTo>
                    <a:pt x="540" y="72"/>
                  </a:lnTo>
                  <a:lnTo>
                    <a:pt x="530" y="74"/>
                  </a:lnTo>
                  <a:lnTo>
                    <a:pt x="522" y="78"/>
                  </a:lnTo>
                  <a:lnTo>
                    <a:pt x="518" y="82"/>
                  </a:lnTo>
                  <a:lnTo>
                    <a:pt x="516" y="88"/>
                  </a:lnTo>
                  <a:lnTo>
                    <a:pt x="512" y="104"/>
                  </a:lnTo>
                  <a:lnTo>
                    <a:pt x="512" y="104"/>
                  </a:lnTo>
                  <a:close/>
                  <a:moveTo>
                    <a:pt x="634" y="46"/>
                  </a:moveTo>
                  <a:lnTo>
                    <a:pt x="675" y="46"/>
                  </a:lnTo>
                  <a:lnTo>
                    <a:pt x="675" y="68"/>
                  </a:lnTo>
                  <a:lnTo>
                    <a:pt x="675" y="68"/>
                  </a:lnTo>
                  <a:lnTo>
                    <a:pt x="683" y="58"/>
                  </a:lnTo>
                  <a:lnTo>
                    <a:pt x="693" y="50"/>
                  </a:lnTo>
                  <a:lnTo>
                    <a:pt x="705" y="44"/>
                  </a:lnTo>
                  <a:lnTo>
                    <a:pt x="721" y="42"/>
                  </a:lnTo>
                  <a:lnTo>
                    <a:pt x="721" y="42"/>
                  </a:lnTo>
                  <a:lnTo>
                    <a:pt x="731" y="44"/>
                  </a:lnTo>
                  <a:lnTo>
                    <a:pt x="739" y="46"/>
                  </a:lnTo>
                  <a:lnTo>
                    <a:pt x="747" y="50"/>
                  </a:lnTo>
                  <a:lnTo>
                    <a:pt x="753" y="56"/>
                  </a:lnTo>
                  <a:lnTo>
                    <a:pt x="759" y="62"/>
                  </a:lnTo>
                  <a:lnTo>
                    <a:pt x="763" y="72"/>
                  </a:lnTo>
                  <a:lnTo>
                    <a:pt x="765" y="82"/>
                  </a:lnTo>
                  <a:lnTo>
                    <a:pt x="767" y="96"/>
                  </a:lnTo>
                  <a:lnTo>
                    <a:pt x="767" y="196"/>
                  </a:lnTo>
                  <a:lnTo>
                    <a:pt x="725" y="196"/>
                  </a:lnTo>
                  <a:lnTo>
                    <a:pt x="725" y="102"/>
                  </a:lnTo>
                  <a:lnTo>
                    <a:pt x="725" y="102"/>
                  </a:lnTo>
                  <a:lnTo>
                    <a:pt x="723" y="90"/>
                  </a:lnTo>
                  <a:lnTo>
                    <a:pt x="719" y="82"/>
                  </a:lnTo>
                  <a:lnTo>
                    <a:pt x="711" y="78"/>
                  </a:lnTo>
                  <a:lnTo>
                    <a:pt x="701" y="76"/>
                  </a:lnTo>
                  <a:lnTo>
                    <a:pt x="701" y="76"/>
                  </a:lnTo>
                  <a:lnTo>
                    <a:pt x="691" y="78"/>
                  </a:lnTo>
                  <a:lnTo>
                    <a:pt x="683" y="84"/>
                  </a:lnTo>
                  <a:lnTo>
                    <a:pt x="677" y="92"/>
                  </a:lnTo>
                  <a:lnTo>
                    <a:pt x="675" y="104"/>
                  </a:lnTo>
                  <a:lnTo>
                    <a:pt x="675" y="196"/>
                  </a:lnTo>
                  <a:lnTo>
                    <a:pt x="634" y="196"/>
                  </a:lnTo>
                  <a:lnTo>
                    <a:pt x="634" y="46"/>
                  </a:lnTo>
                  <a:close/>
                  <a:moveTo>
                    <a:pt x="845" y="0"/>
                  </a:moveTo>
                  <a:lnTo>
                    <a:pt x="845" y="46"/>
                  </a:lnTo>
                  <a:lnTo>
                    <a:pt x="873" y="46"/>
                  </a:lnTo>
                  <a:lnTo>
                    <a:pt x="873" y="78"/>
                  </a:lnTo>
                  <a:lnTo>
                    <a:pt x="845" y="78"/>
                  </a:lnTo>
                  <a:lnTo>
                    <a:pt x="845" y="148"/>
                  </a:lnTo>
                  <a:lnTo>
                    <a:pt x="845" y="148"/>
                  </a:lnTo>
                  <a:lnTo>
                    <a:pt x="845" y="156"/>
                  </a:lnTo>
                  <a:lnTo>
                    <a:pt x="849" y="162"/>
                  </a:lnTo>
                  <a:lnTo>
                    <a:pt x="853" y="164"/>
                  </a:lnTo>
                  <a:lnTo>
                    <a:pt x="859" y="166"/>
                  </a:lnTo>
                  <a:lnTo>
                    <a:pt x="859" y="166"/>
                  </a:lnTo>
                  <a:lnTo>
                    <a:pt x="869" y="164"/>
                  </a:lnTo>
                  <a:lnTo>
                    <a:pt x="875" y="162"/>
                  </a:lnTo>
                  <a:lnTo>
                    <a:pt x="875" y="196"/>
                  </a:lnTo>
                  <a:lnTo>
                    <a:pt x="875" y="196"/>
                  </a:lnTo>
                  <a:lnTo>
                    <a:pt x="865" y="198"/>
                  </a:lnTo>
                  <a:lnTo>
                    <a:pt x="851" y="198"/>
                  </a:lnTo>
                  <a:lnTo>
                    <a:pt x="851" y="198"/>
                  </a:lnTo>
                  <a:lnTo>
                    <a:pt x="839" y="198"/>
                  </a:lnTo>
                  <a:lnTo>
                    <a:pt x="829" y="196"/>
                  </a:lnTo>
                  <a:lnTo>
                    <a:pt x="821" y="192"/>
                  </a:lnTo>
                  <a:lnTo>
                    <a:pt x="815" y="188"/>
                  </a:lnTo>
                  <a:lnTo>
                    <a:pt x="809" y="180"/>
                  </a:lnTo>
                  <a:lnTo>
                    <a:pt x="805" y="172"/>
                  </a:lnTo>
                  <a:lnTo>
                    <a:pt x="803" y="164"/>
                  </a:lnTo>
                  <a:lnTo>
                    <a:pt x="803" y="152"/>
                  </a:lnTo>
                  <a:lnTo>
                    <a:pt x="803" y="78"/>
                  </a:lnTo>
                  <a:lnTo>
                    <a:pt x="785" y="78"/>
                  </a:lnTo>
                  <a:lnTo>
                    <a:pt x="785" y="46"/>
                  </a:lnTo>
                  <a:lnTo>
                    <a:pt x="803" y="46"/>
                  </a:lnTo>
                  <a:lnTo>
                    <a:pt x="803" y="18"/>
                  </a:lnTo>
                  <a:lnTo>
                    <a:pt x="845" y="0"/>
                  </a:lnTo>
                  <a:close/>
                  <a:moveTo>
                    <a:pt x="1033" y="196"/>
                  </a:moveTo>
                  <a:lnTo>
                    <a:pt x="991" y="196"/>
                  </a:lnTo>
                  <a:lnTo>
                    <a:pt x="991" y="174"/>
                  </a:lnTo>
                  <a:lnTo>
                    <a:pt x="991" y="174"/>
                  </a:lnTo>
                  <a:lnTo>
                    <a:pt x="983" y="184"/>
                  </a:lnTo>
                  <a:lnTo>
                    <a:pt x="973" y="192"/>
                  </a:lnTo>
                  <a:lnTo>
                    <a:pt x="961" y="198"/>
                  </a:lnTo>
                  <a:lnTo>
                    <a:pt x="947" y="200"/>
                  </a:lnTo>
                  <a:lnTo>
                    <a:pt x="947" y="200"/>
                  </a:lnTo>
                  <a:lnTo>
                    <a:pt x="937" y="198"/>
                  </a:lnTo>
                  <a:lnTo>
                    <a:pt x="927" y="196"/>
                  </a:lnTo>
                  <a:lnTo>
                    <a:pt x="919" y="192"/>
                  </a:lnTo>
                  <a:lnTo>
                    <a:pt x="913" y="188"/>
                  </a:lnTo>
                  <a:lnTo>
                    <a:pt x="907" y="180"/>
                  </a:lnTo>
                  <a:lnTo>
                    <a:pt x="903" y="170"/>
                  </a:lnTo>
                  <a:lnTo>
                    <a:pt x="901" y="160"/>
                  </a:lnTo>
                  <a:lnTo>
                    <a:pt x="899" y="148"/>
                  </a:lnTo>
                  <a:lnTo>
                    <a:pt x="899" y="46"/>
                  </a:lnTo>
                  <a:lnTo>
                    <a:pt x="941" y="46"/>
                  </a:lnTo>
                  <a:lnTo>
                    <a:pt x="941" y="142"/>
                  </a:lnTo>
                  <a:lnTo>
                    <a:pt x="941" y="142"/>
                  </a:lnTo>
                  <a:lnTo>
                    <a:pt x="943" y="152"/>
                  </a:lnTo>
                  <a:lnTo>
                    <a:pt x="947" y="160"/>
                  </a:lnTo>
                  <a:lnTo>
                    <a:pt x="953" y="166"/>
                  </a:lnTo>
                  <a:lnTo>
                    <a:pt x="963" y="166"/>
                  </a:lnTo>
                  <a:lnTo>
                    <a:pt x="963" y="166"/>
                  </a:lnTo>
                  <a:lnTo>
                    <a:pt x="973" y="166"/>
                  </a:lnTo>
                  <a:lnTo>
                    <a:pt x="983" y="160"/>
                  </a:lnTo>
                  <a:lnTo>
                    <a:pt x="989" y="152"/>
                  </a:lnTo>
                  <a:lnTo>
                    <a:pt x="991" y="138"/>
                  </a:lnTo>
                  <a:lnTo>
                    <a:pt x="991" y="46"/>
                  </a:lnTo>
                  <a:lnTo>
                    <a:pt x="1033" y="46"/>
                  </a:lnTo>
                  <a:lnTo>
                    <a:pt x="1033" y="196"/>
                  </a:lnTo>
                  <a:close/>
                  <a:moveTo>
                    <a:pt x="1063" y="46"/>
                  </a:moveTo>
                  <a:lnTo>
                    <a:pt x="1105" y="46"/>
                  </a:lnTo>
                  <a:lnTo>
                    <a:pt x="1105" y="74"/>
                  </a:lnTo>
                  <a:lnTo>
                    <a:pt x="1105" y="74"/>
                  </a:lnTo>
                  <a:lnTo>
                    <a:pt x="1113" y="60"/>
                  </a:lnTo>
                  <a:lnTo>
                    <a:pt x="1123" y="52"/>
                  </a:lnTo>
                  <a:lnTo>
                    <a:pt x="1135" y="46"/>
                  </a:lnTo>
                  <a:lnTo>
                    <a:pt x="1149" y="44"/>
                  </a:lnTo>
                  <a:lnTo>
                    <a:pt x="1149" y="86"/>
                  </a:lnTo>
                  <a:lnTo>
                    <a:pt x="1149" y="86"/>
                  </a:lnTo>
                  <a:lnTo>
                    <a:pt x="1131" y="88"/>
                  </a:lnTo>
                  <a:lnTo>
                    <a:pt x="1123" y="90"/>
                  </a:lnTo>
                  <a:lnTo>
                    <a:pt x="1117" y="92"/>
                  </a:lnTo>
                  <a:lnTo>
                    <a:pt x="1111" y="98"/>
                  </a:lnTo>
                  <a:lnTo>
                    <a:pt x="1107" y="104"/>
                  </a:lnTo>
                  <a:lnTo>
                    <a:pt x="1105" y="110"/>
                  </a:lnTo>
                  <a:lnTo>
                    <a:pt x="1105" y="120"/>
                  </a:lnTo>
                  <a:lnTo>
                    <a:pt x="1105" y="196"/>
                  </a:lnTo>
                  <a:lnTo>
                    <a:pt x="1063" y="196"/>
                  </a:lnTo>
                  <a:lnTo>
                    <a:pt x="1063" y="46"/>
                  </a:lnTo>
                  <a:close/>
                  <a:moveTo>
                    <a:pt x="1237" y="200"/>
                  </a:moveTo>
                  <a:lnTo>
                    <a:pt x="1237" y="200"/>
                  </a:lnTo>
                  <a:lnTo>
                    <a:pt x="1221" y="198"/>
                  </a:lnTo>
                  <a:lnTo>
                    <a:pt x="1207" y="194"/>
                  </a:lnTo>
                  <a:lnTo>
                    <a:pt x="1195" y="188"/>
                  </a:lnTo>
                  <a:lnTo>
                    <a:pt x="1183" y="180"/>
                  </a:lnTo>
                  <a:lnTo>
                    <a:pt x="1175" y="170"/>
                  </a:lnTo>
                  <a:lnTo>
                    <a:pt x="1169" y="156"/>
                  </a:lnTo>
                  <a:lnTo>
                    <a:pt x="1165" y="142"/>
                  </a:lnTo>
                  <a:lnTo>
                    <a:pt x="1163" y="124"/>
                  </a:lnTo>
                  <a:lnTo>
                    <a:pt x="1163" y="120"/>
                  </a:lnTo>
                  <a:lnTo>
                    <a:pt x="1163" y="120"/>
                  </a:lnTo>
                  <a:lnTo>
                    <a:pt x="1165" y="102"/>
                  </a:lnTo>
                  <a:lnTo>
                    <a:pt x="1169" y="88"/>
                  </a:lnTo>
                  <a:lnTo>
                    <a:pt x="1175" y="74"/>
                  </a:lnTo>
                  <a:lnTo>
                    <a:pt x="1183" y="62"/>
                  </a:lnTo>
                  <a:lnTo>
                    <a:pt x="1195" y="54"/>
                  </a:lnTo>
                  <a:lnTo>
                    <a:pt x="1207" y="48"/>
                  </a:lnTo>
                  <a:lnTo>
                    <a:pt x="1221" y="44"/>
                  </a:lnTo>
                  <a:lnTo>
                    <a:pt x="1235" y="42"/>
                  </a:lnTo>
                  <a:lnTo>
                    <a:pt x="1235" y="42"/>
                  </a:lnTo>
                  <a:lnTo>
                    <a:pt x="1249" y="44"/>
                  </a:lnTo>
                  <a:lnTo>
                    <a:pt x="1261" y="46"/>
                  </a:lnTo>
                  <a:lnTo>
                    <a:pt x="1273" y="52"/>
                  </a:lnTo>
                  <a:lnTo>
                    <a:pt x="1283" y="60"/>
                  </a:lnTo>
                  <a:lnTo>
                    <a:pt x="1291" y="70"/>
                  </a:lnTo>
                  <a:lnTo>
                    <a:pt x="1299" y="82"/>
                  </a:lnTo>
                  <a:lnTo>
                    <a:pt x="1303" y="96"/>
                  </a:lnTo>
                  <a:lnTo>
                    <a:pt x="1303" y="114"/>
                  </a:lnTo>
                  <a:lnTo>
                    <a:pt x="1303" y="132"/>
                  </a:lnTo>
                  <a:lnTo>
                    <a:pt x="1205" y="132"/>
                  </a:lnTo>
                  <a:lnTo>
                    <a:pt x="1205" y="132"/>
                  </a:lnTo>
                  <a:lnTo>
                    <a:pt x="1209" y="148"/>
                  </a:lnTo>
                  <a:lnTo>
                    <a:pt x="1211" y="156"/>
                  </a:lnTo>
                  <a:lnTo>
                    <a:pt x="1215" y="160"/>
                  </a:lnTo>
                  <a:lnTo>
                    <a:pt x="1219" y="164"/>
                  </a:lnTo>
                  <a:lnTo>
                    <a:pt x="1225" y="168"/>
                  </a:lnTo>
                  <a:lnTo>
                    <a:pt x="1237" y="170"/>
                  </a:lnTo>
                  <a:lnTo>
                    <a:pt x="1237" y="170"/>
                  </a:lnTo>
                  <a:lnTo>
                    <a:pt x="1247" y="168"/>
                  </a:lnTo>
                  <a:lnTo>
                    <a:pt x="1257" y="164"/>
                  </a:lnTo>
                  <a:lnTo>
                    <a:pt x="1261" y="158"/>
                  </a:lnTo>
                  <a:lnTo>
                    <a:pt x="1265" y="150"/>
                  </a:lnTo>
                  <a:lnTo>
                    <a:pt x="1303" y="150"/>
                  </a:lnTo>
                  <a:lnTo>
                    <a:pt x="1303" y="150"/>
                  </a:lnTo>
                  <a:lnTo>
                    <a:pt x="1301" y="160"/>
                  </a:lnTo>
                  <a:lnTo>
                    <a:pt x="1297" y="170"/>
                  </a:lnTo>
                  <a:lnTo>
                    <a:pt x="1291" y="178"/>
                  </a:lnTo>
                  <a:lnTo>
                    <a:pt x="1283" y="186"/>
                  </a:lnTo>
                  <a:lnTo>
                    <a:pt x="1273" y="192"/>
                  </a:lnTo>
                  <a:lnTo>
                    <a:pt x="1263" y="196"/>
                  </a:lnTo>
                  <a:lnTo>
                    <a:pt x="1251" y="198"/>
                  </a:lnTo>
                  <a:lnTo>
                    <a:pt x="1237" y="200"/>
                  </a:lnTo>
                  <a:lnTo>
                    <a:pt x="1237" y="200"/>
                  </a:lnTo>
                  <a:close/>
                  <a:moveTo>
                    <a:pt x="1207" y="104"/>
                  </a:moveTo>
                  <a:lnTo>
                    <a:pt x="1263" y="104"/>
                  </a:lnTo>
                  <a:lnTo>
                    <a:pt x="1263" y="104"/>
                  </a:lnTo>
                  <a:lnTo>
                    <a:pt x="1261" y="90"/>
                  </a:lnTo>
                  <a:lnTo>
                    <a:pt x="1259" y="84"/>
                  </a:lnTo>
                  <a:lnTo>
                    <a:pt x="1255" y="80"/>
                  </a:lnTo>
                  <a:lnTo>
                    <a:pt x="1251" y="76"/>
                  </a:lnTo>
                  <a:lnTo>
                    <a:pt x="1247" y="74"/>
                  </a:lnTo>
                  <a:lnTo>
                    <a:pt x="1235" y="72"/>
                  </a:lnTo>
                  <a:lnTo>
                    <a:pt x="1235" y="72"/>
                  </a:lnTo>
                  <a:lnTo>
                    <a:pt x="1225" y="74"/>
                  </a:lnTo>
                  <a:lnTo>
                    <a:pt x="1217" y="78"/>
                  </a:lnTo>
                  <a:lnTo>
                    <a:pt x="1213" y="82"/>
                  </a:lnTo>
                  <a:lnTo>
                    <a:pt x="1211" y="88"/>
                  </a:lnTo>
                  <a:lnTo>
                    <a:pt x="1207" y="104"/>
                  </a:lnTo>
                  <a:lnTo>
                    <a:pt x="1207" y="10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EE144F4A-0BD1-A229-9E71-629EA718A753}"/>
              </a:ext>
            </a:extLst>
          </p:cNvPr>
          <p:cNvSpPr/>
          <p:nvPr userDrawn="1"/>
        </p:nvSpPr>
        <p:spPr>
          <a:xfrm>
            <a:off x="7323678" y="3794760"/>
            <a:ext cx="1756131" cy="2926080"/>
          </a:xfrm>
          <a:prstGeom prst="rect">
            <a:avLst/>
          </a:prstGeom>
          <a:gradFill flip="none" rotWithShape="1">
            <a:gsLst>
              <a:gs pos="66000">
                <a:schemeClr val="bg1">
                  <a:alpha val="50000"/>
                </a:schemeClr>
              </a:gs>
              <a:gs pos="3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75671DE-CCBC-31FF-67A1-C0A5284805EC}"/>
              </a:ext>
            </a:extLst>
          </p:cNvPr>
          <p:cNvSpPr/>
          <p:nvPr userDrawn="1"/>
        </p:nvSpPr>
        <p:spPr>
          <a:xfrm rot="5400000">
            <a:off x="9031496" y="2074650"/>
            <a:ext cx="1756131" cy="4298178"/>
          </a:xfrm>
          <a:prstGeom prst="rect">
            <a:avLst/>
          </a:prstGeom>
          <a:gradFill flip="none" rotWithShape="1">
            <a:gsLst>
              <a:gs pos="66000">
                <a:schemeClr val="bg1">
                  <a:alpha val="50000"/>
                </a:schemeClr>
              </a:gs>
              <a:gs pos="3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328913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ic +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B4441DF-9CC4-EF47-AD4E-CB7AD1A618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11" y="0"/>
            <a:ext cx="1219361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9A863C2-05E9-C395-E107-4FDD364366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583351"/>
            <a:ext cx="10972800" cy="365760"/>
          </a:xfrm>
        </p:spPr>
        <p:txBody>
          <a:bodyPr vert="horz"/>
          <a:lstStyle>
            <a:lvl1pPr marL="0" indent="0">
              <a:buFont typeface="Arial" panose="020B0604020202020204" pitchFamily="34" charset="0"/>
              <a:buNone/>
              <a:defRPr sz="2800" b="0">
                <a:latin typeface="Graphik Medium" panose="020B0603030202060203" pitchFamily="34" charset="0"/>
              </a:defRPr>
            </a:lvl1pPr>
          </a:lstStyle>
          <a:p>
            <a:r>
              <a:rPr lang="en-GB"/>
              <a:t>Place headline here (28pt, min 30pt)</a:t>
            </a:r>
            <a:endParaRPr lang="en-US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9AB8BF52-D735-11FC-ACC3-8203D997EF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958003"/>
            <a:ext cx="10972800" cy="27432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160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defTabSz="914400">
              <a:lnSpc>
                <a:spcPct val="80000"/>
              </a:lnSpc>
              <a:spcBef>
                <a:spcPct val="0"/>
              </a:spcBef>
            </a:pPr>
            <a:r>
              <a:rPr lang="en-US"/>
              <a:t>Subtitle (16pt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AA76DEA-AC1B-CEC4-85E4-878B8BCDE537}"/>
              </a:ext>
            </a:extLst>
          </p:cNvPr>
          <p:cNvSpPr txBox="1"/>
          <p:nvPr userDrawn="1"/>
        </p:nvSpPr>
        <p:spPr>
          <a:xfrm>
            <a:off x="8195970" y="6141720"/>
            <a:ext cx="311211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5 Accentur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4876F8F-2435-5B9B-EBF0-3A7304D5E1AF}"/>
              </a:ext>
            </a:extLst>
          </p:cNvPr>
          <p:cNvSpPr txBox="1"/>
          <p:nvPr userDrawn="1"/>
        </p:nvSpPr>
        <p:spPr>
          <a:xfrm>
            <a:off x="11308080" y="6141720"/>
            <a:ext cx="27432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7779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BAE40"/>
          </p15:clr>
        </p15:guide>
        <p15:guide id="5" orient="horz" pos="1502">
          <p15:clr>
            <a:srgbClr val="FBAE40"/>
          </p15:clr>
        </p15:guide>
        <p15:guide id="6" pos="7296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 / Half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C087699-AA66-604E-BE83-E5D6A85E34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11" y="0"/>
            <a:ext cx="12193611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3C6BC93-381C-9842-9FD9-71C4FFE49B7E}"/>
              </a:ext>
            </a:extLst>
          </p:cNvPr>
          <p:cNvSpPr/>
          <p:nvPr userDrawn="1"/>
        </p:nvSpPr>
        <p:spPr>
          <a:xfrm>
            <a:off x="7141580" y="1538466"/>
            <a:ext cx="4532969" cy="4353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F9D1DA-B3F7-C70E-6B2B-37C4742075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583351"/>
            <a:ext cx="10972800" cy="365760"/>
          </a:xfrm>
        </p:spPr>
        <p:txBody>
          <a:bodyPr vert="horz"/>
          <a:lstStyle>
            <a:lvl1pPr marL="0" indent="0">
              <a:buFont typeface="Arial" panose="020B0604020202020204" pitchFamily="34" charset="0"/>
              <a:buNone/>
              <a:defRPr sz="2800" b="0">
                <a:latin typeface="Graphik Medium" panose="020B0603030202060203" pitchFamily="34" charset="0"/>
              </a:defRPr>
            </a:lvl1pPr>
          </a:lstStyle>
          <a:p>
            <a:r>
              <a:rPr lang="en-GB"/>
              <a:t>Place headline here (28pt, min 30pt)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5733825-A7F7-E27A-1AD1-5820DDD5C1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958003"/>
            <a:ext cx="10972800" cy="27432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160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defTabSz="914400">
              <a:lnSpc>
                <a:spcPct val="80000"/>
              </a:lnSpc>
              <a:spcBef>
                <a:spcPct val="0"/>
              </a:spcBef>
            </a:pPr>
            <a:r>
              <a:rPr lang="en-US"/>
              <a:t>Subtitle (16pt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9C37BAF-985D-489F-85B7-0CC94438E518}"/>
              </a:ext>
            </a:extLst>
          </p:cNvPr>
          <p:cNvSpPr txBox="1"/>
          <p:nvPr userDrawn="1"/>
        </p:nvSpPr>
        <p:spPr>
          <a:xfrm>
            <a:off x="8195970" y="6141720"/>
            <a:ext cx="311211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5 Accentur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256794-3782-B641-C441-221D7D4054BD}"/>
              </a:ext>
            </a:extLst>
          </p:cNvPr>
          <p:cNvSpPr txBox="1"/>
          <p:nvPr userDrawn="1"/>
        </p:nvSpPr>
        <p:spPr>
          <a:xfrm>
            <a:off x="11308080" y="6141720"/>
            <a:ext cx="27432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7315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80">
          <p15:clr>
            <a:srgbClr val="FBAE40"/>
          </p15:clr>
        </p15:guide>
        <p15:guide id="2" pos="483">
          <p15:clr>
            <a:srgbClr val="FBAE40"/>
          </p15:clr>
        </p15:guide>
        <p15:guide id="3" pos="4520">
          <p15:clr>
            <a:srgbClr val="FBAE40"/>
          </p15:clr>
        </p15:guide>
        <p15:guide id="4" orient="horz" pos="1117">
          <p15:clr>
            <a:srgbClr val="FBAE40"/>
          </p15:clr>
        </p15:guide>
        <p15:guide id="5" orient="horz" pos="3543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C087699-AA66-604E-BE83-E5D6A85E34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11" y="0"/>
            <a:ext cx="12193611" cy="6858000"/>
          </a:xfrm>
          <a:prstGeom prst="rect">
            <a:avLst/>
          </a:prstGeom>
        </p:spPr>
      </p:pic>
      <p:sp>
        <p:nvSpPr>
          <p:cNvPr id="14" name="Slide Number Placeholder 9">
            <a:extLst>
              <a:ext uri="{FF2B5EF4-FFF2-40B4-BE49-F238E27FC236}">
                <a16:creationId xmlns:a16="http://schemas.microsoft.com/office/drawing/2014/main" id="{E2A9907F-1EFF-ED4E-AAB2-EE3FDFAC6F3B}"/>
              </a:ext>
            </a:extLst>
          </p:cNvPr>
          <p:cNvSpPr txBox="1">
            <a:spLocks/>
          </p:cNvSpPr>
          <p:nvPr userDrawn="1"/>
        </p:nvSpPr>
        <p:spPr>
          <a:xfrm>
            <a:off x="11038640" y="6108346"/>
            <a:ext cx="385711" cy="206375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bg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F9AC08D-23A9-440E-BCB9-AA1E9877CC38}" type="slidenum">
              <a:rPr lang="en-US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CE63947-FDAA-3E4F-9076-600EEAA75301}"/>
              </a:ext>
            </a:extLst>
          </p:cNvPr>
          <p:cNvSpPr/>
          <p:nvPr userDrawn="1"/>
        </p:nvSpPr>
        <p:spPr>
          <a:xfrm>
            <a:off x="-1" y="1379799"/>
            <a:ext cx="5567423" cy="4098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4ECDDEFD-963B-E846-A022-74BCF3A4972F}"/>
              </a:ext>
            </a:extLst>
          </p:cNvPr>
          <p:cNvSpPr txBox="1">
            <a:spLocks/>
          </p:cNvSpPr>
          <p:nvPr userDrawn="1"/>
        </p:nvSpPr>
        <p:spPr>
          <a:xfrm>
            <a:off x="6930524" y="6151538"/>
            <a:ext cx="41148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>
                <a:solidFill>
                  <a:schemeClr val="bg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PH">
                <a:solidFill>
                  <a:schemeClr val="tx1">
                    <a:lumMod val="50000"/>
                    <a:lumOff val="50000"/>
                  </a:schemeClr>
                </a:solidFill>
              </a:rPr>
              <a:t>Copyright © 2022 Accenture. All rights reserved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56C4672-592B-DBC3-CC0B-95ED4DA534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583351"/>
            <a:ext cx="10972800" cy="365760"/>
          </a:xfrm>
        </p:spPr>
        <p:txBody>
          <a:bodyPr vert="horz"/>
          <a:lstStyle>
            <a:lvl1pPr marL="0" indent="0">
              <a:buFont typeface="Arial" panose="020B0604020202020204" pitchFamily="34" charset="0"/>
              <a:buNone/>
              <a:defRPr sz="2800" b="0">
                <a:latin typeface="Graphik Medium" panose="020B0603030202060203" pitchFamily="34" charset="0"/>
              </a:defRPr>
            </a:lvl1pPr>
          </a:lstStyle>
          <a:p>
            <a:r>
              <a:rPr lang="en-GB"/>
              <a:t>Place headline here (28pt, min 30pt)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F10AF5F-E346-EA2F-40F8-BAC9544BED5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958003"/>
            <a:ext cx="10972800" cy="27432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1600" dirty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defTabSz="914400">
              <a:lnSpc>
                <a:spcPct val="80000"/>
              </a:lnSpc>
              <a:spcBef>
                <a:spcPct val="0"/>
              </a:spcBef>
            </a:pPr>
            <a:r>
              <a:rPr lang="en-US"/>
              <a:t>Subtitle (16pt)</a:t>
            </a:r>
          </a:p>
        </p:txBody>
      </p:sp>
    </p:spTree>
    <p:extLst>
      <p:ext uri="{BB962C8B-B14F-4D97-AF65-F5344CB8AC3E}">
        <p14:creationId xmlns:p14="http://schemas.microsoft.com/office/powerpoint/2010/main" val="3454362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46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 / Half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C087699-AA66-604E-BE83-E5D6A85E34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11" y="0"/>
            <a:ext cx="12193611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3C6BC93-381C-9842-9FD9-71C4FFE49B7E}"/>
              </a:ext>
            </a:extLst>
          </p:cNvPr>
          <p:cNvSpPr/>
          <p:nvPr userDrawn="1"/>
        </p:nvSpPr>
        <p:spPr>
          <a:xfrm>
            <a:off x="7141580" y="1538466"/>
            <a:ext cx="5050420" cy="4353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F9D1DA-B3F7-C70E-6B2B-37C4742075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583351"/>
            <a:ext cx="10972800" cy="365760"/>
          </a:xfrm>
        </p:spPr>
        <p:txBody>
          <a:bodyPr vert="horz"/>
          <a:lstStyle>
            <a:lvl1pPr marL="0" indent="0">
              <a:buFont typeface="Arial" panose="020B0604020202020204" pitchFamily="34" charset="0"/>
              <a:buNone/>
              <a:defRPr sz="2800" b="0">
                <a:latin typeface="Graphik Medium" panose="020B0603030202060203" pitchFamily="34" charset="0"/>
              </a:defRPr>
            </a:lvl1pPr>
          </a:lstStyle>
          <a:p>
            <a:r>
              <a:rPr lang="en-GB"/>
              <a:t>Place headline here (28pt, min 30pt)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5733825-A7F7-E27A-1AD1-5820DDD5C1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958003"/>
            <a:ext cx="10972800" cy="27432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16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defTabSz="914400">
              <a:lnSpc>
                <a:spcPct val="80000"/>
              </a:lnSpc>
              <a:spcBef>
                <a:spcPct val="0"/>
              </a:spcBef>
            </a:pPr>
            <a:r>
              <a:rPr lang="en-US"/>
              <a:t>Subtitle (16pt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9C37BAF-985D-489F-85B7-0CC94438E518}"/>
              </a:ext>
            </a:extLst>
          </p:cNvPr>
          <p:cNvSpPr txBox="1"/>
          <p:nvPr userDrawn="1"/>
        </p:nvSpPr>
        <p:spPr>
          <a:xfrm>
            <a:off x="8195970" y="6141720"/>
            <a:ext cx="311211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5 Accentur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256794-3782-B641-C441-221D7D4054BD}"/>
              </a:ext>
            </a:extLst>
          </p:cNvPr>
          <p:cNvSpPr txBox="1"/>
          <p:nvPr userDrawn="1"/>
        </p:nvSpPr>
        <p:spPr>
          <a:xfrm>
            <a:off x="11308080" y="6141720"/>
            <a:ext cx="27432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F36E543-2D17-8E95-A28E-EAEEC48D2B32}"/>
              </a:ext>
            </a:extLst>
          </p:cNvPr>
          <p:cNvSpPr/>
          <p:nvPr userDrawn="1"/>
        </p:nvSpPr>
        <p:spPr>
          <a:xfrm>
            <a:off x="6096000" y="1773237"/>
            <a:ext cx="6096000" cy="38512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739883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35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 / Half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C087699-AA66-604E-BE83-E5D6A85E34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11" y="0"/>
            <a:ext cx="12193611" cy="6858000"/>
          </a:xfrm>
          <a:prstGeom prst="rect">
            <a:avLst/>
          </a:prstGeom>
        </p:spPr>
      </p:pic>
      <p:sp>
        <p:nvSpPr>
          <p:cNvPr id="14" name="Slide Number Placeholder 9">
            <a:extLst>
              <a:ext uri="{FF2B5EF4-FFF2-40B4-BE49-F238E27FC236}">
                <a16:creationId xmlns:a16="http://schemas.microsoft.com/office/drawing/2014/main" id="{E2A9907F-1EFF-ED4E-AAB2-EE3FDFAC6F3B}"/>
              </a:ext>
            </a:extLst>
          </p:cNvPr>
          <p:cNvSpPr txBox="1">
            <a:spLocks/>
          </p:cNvSpPr>
          <p:nvPr userDrawn="1"/>
        </p:nvSpPr>
        <p:spPr>
          <a:xfrm>
            <a:off x="11038640" y="6108346"/>
            <a:ext cx="385711" cy="206375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bg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F9AC08D-23A9-440E-BCB9-AA1E9877CC38}" type="slidenum">
              <a:rPr lang="en-US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CE63947-FDAA-3E4F-9076-600EEAA75301}"/>
              </a:ext>
            </a:extLst>
          </p:cNvPr>
          <p:cNvSpPr/>
          <p:nvPr userDrawn="1"/>
        </p:nvSpPr>
        <p:spPr>
          <a:xfrm>
            <a:off x="-1" y="1379799"/>
            <a:ext cx="5567423" cy="4098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4ECDDEFD-963B-E846-A022-74BCF3A4972F}"/>
              </a:ext>
            </a:extLst>
          </p:cNvPr>
          <p:cNvSpPr txBox="1">
            <a:spLocks/>
          </p:cNvSpPr>
          <p:nvPr userDrawn="1"/>
        </p:nvSpPr>
        <p:spPr>
          <a:xfrm>
            <a:off x="6930524" y="6151538"/>
            <a:ext cx="41148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>
                <a:solidFill>
                  <a:schemeClr val="bg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PH">
                <a:solidFill>
                  <a:schemeClr val="tx1">
                    <a:lumMod val="50000"/>
                    <a:lumOff val="50000"/>
                  </a:schemeClr>
                </a:solidFill>
              </a:rPr>
              <a:t>Copyright © 2022 Accenture. All rights reserved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E51D4DF-0D37-8476-0C88-8B38FD972B31}"/>
              </a:ext>
            </a:extLst>
          </p:cNvPr>
          <p:cNvSpPr/>
          <p:nvPr userDrawn="1"/>
        </p:nvSpPr>
        <p:spPr>
          <a:xfrm>
            <a:off x="-3048" y="1504188"/>
            <a:ext cx="6035040" cy="38496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6A6BF29-606B-09B2-FEAA-82FA20F4D3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583351"/>
            <a:ext cx="10972800" cy="365760"/>
          </a:xfrm>
        </p:spPr>
        <p:txBody>
          <a:bodyPr vert="horz"/>
          <a:lstStyle>
            <a:lvl1pPr marL="0" indent="0">
              <a:buFont typeface="Arial" panose="020B0604020202020204" pitchFamily="34" charset="0"/>
              <a:buNone/>
              <a:defRPr sz="2800" b="0">
                <a:latin typeface="Graphik Medium" panose="020B0603030202060203" pitchFamily="34" charset="0"/>
              </a:defRPr>
            </a:lvl1pPr>
          </a:lstStyle>
          <a:p>
            <a:r>
              <a:rPr lang="en-GB"/>
              <a:t>Place headline here (28pt, min 30pt)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C33282A-1D7F-B4A2-7C8C-5C566E69A6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958003"/>
            <a:ext cx="10972800" cy="27432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16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defTabSz="914400">
              <a:lnSpc>
                <a:spcPct val="80000"/>
              </a:lnSpc>
              <a:spcBef>
                <a:spcPct val="0"/>
              </a:spcBef>
            </a:pPr>
            <a:r>
              <a:rPr lang="en-US"/>
              <a:t>Subtitle (16pt)</a:t>
            </a:r>
          </a:p>
        </p:txBody>
      </p:sp>
    </p:spTree>
    <p:extLst>
      <p:ext uri="{BB962C8B-B14F-4D97-AF65-F5344CB8AC3E}">
        <p14:creationId xmlns:p14="http://schemas.microsoft.com/office/powerpoint/2010/main" val="17506501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DC0C86-80A9-481C-A2D5-6F509B89192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C703F910-26EC-4B07-B522-B28DEB82C3E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69737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05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alutation-GTS cente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AD1A731-23F5-EC48-B535-77747E321C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</a:blip>
          <a:srcRect/>
          <a:stretch/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E73209D-E2BB-6B47-B7D3-7988A535DEF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0004483-A7E4-7047-B6F1-3E37D2778C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1801" y="2328159"/>
            <a:ext cx="7040753" cy="2221454"/>
          </a:xfrm>
          <a:prstGeom prst="rect">
            <a:avLst/>
          </a:prstGeo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Title 72pt</a:t>
            </a:r>
            <a:endParaRPr lang="en-US"/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838CBB3-8C9F-9541-8B3B-46D50AE8856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377" y="763649"/>
            <a:ext cx="1272358" cy="336046"/>
          </a:xfrm>
          <a:prstGeom prst="rect">
            <a:avLst/>
          </a:prstGeom>
        </p:spPr>
      </p:pic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EA723B6C-27E3-F84C-8774-30A023D354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4354793"/>
            <a:ext cx="4049920" cy="682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000" b="0" i="0" kern="1200" spc="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</a:t>
            </a:r>
            <a:r>
              <a:rPr lang="en-GB" err="1"/>
              <a:t>Graphik</a:t>
            </a:r>
            <a:r>
              <a:rPr lang="en-GB"/>
              <a:t>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D28BAC3D-C984-7345-AD0B-58BB74CD84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462" y="5924633"/>
            <a:ext cx="3102015" cy="23058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dirty="0">
                <a:solidFill>
                  <a:schemeClr val="tx1"/>
                </a:solidFill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14pt</a:t>
            </a:r>
          </a:p>
        </p:txBody>
      </p:sp>
    </p:spTree>
    <p:extLst>
      <p:ext uri="{BB962C8B-B14F-4D97-AF65-F5344CB8AC3E}">
        <p14:creationId xmlns:p14="http://schemas.microsoft.com/office/powerpoint/2010/main" val="2927754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3608">
          <p15:clr>
            <a:srgbClr val="C35EA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E6E6DC"/>
                </a:solidFill>
                <a:latin typeface="Arial MT"/>
                <a:cs typeface="Arial MT"/>
              </a:defRPr>
            </a:lvl1pPr>
          </a:lstStyle>
          <a:p>
            <a:pPr marL="12700">
              <a:lnSpc>
                <a:spcPts val="919"/>
              </a:lnSpc>
            </a:pPr>
            <a:r>
              <a:rPr spc="30" dirty="0"/>
              <a:t>Copyright</a:t>
            </a:r>
            <a:r>
              <a:rPr spc="-10" dirty="0"/>
              <a:t> </a:t>
            </a:r>
            <a:r>
              <a:rPr spc="95" dirty="0"/>
              <a:t>©</a:t>
            </a:r>
            <a:r>
              <a:rPr spc="50" dirty="0"/>
              <a:t> </a:t>
            </a:r>
            <a:r>
              <a:rPr spc="30" dirty="0"/>
              <a:t>2025 Accenture.</a:t>
            </a:r>
            <a:r>
              <a:rPr spc="-5" dirty="0"/>
              <a:t> </a:t>
            </a:r>
            <a:r>
              <a:rPr spc="30" dirty="0"/>
              <a:t>All</a:t>
            </a:r>
            <a:r>
              <a:rPr spc="40" dirty="0"/>
              <a:t> </a:t>
            </a:r>
            <a:r>
              <a:rPr spc="30" dirty="0"/>
              <a:t>rights</a:t>
            </a:r>
            <a:r>
              <a:rPr spc="10" dirty="0"/>
              <a:t> </a:t>
            </a:r>
            <a:r>
              <a:rPr spc="-10" dirty="0"/>
              <a:t>reserved.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3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bg1"/>
                </a:solidFill>
                <a:latin typeface="Arial MT"/>
                <a:cs typeface="Arial MT"/>
              </a:defRPr>
            </a:lvl1pPr>
          </a:lstStyle>
          <a:p>
            <a:pPr marL="38100">
              <a:lnSpc>
                <a:spcPts val="919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5874710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380212" y="6483680"/>
            <a:ext cx="183515" cy="201295"/>
          </a:xfrm>
          <a:custGeom>
            <a:avLst/>
            <a:gdLst/>
            <a:ahLst/>
            <a:cxnLst/>
            <a:rect l="l" t="t" r="r" b="b"/>
            <a:pathLst>
              <a:path w="183515" h="201295">
                <a:moveTo>
                  <a:pt x="0" y="0"/>
                </a:moveTo>
                <a:lnTo>
                  <a:pt x="0" y="52527"/>
                </a:lnTo>
                <a:lnTo>
                  <a:pt x="118452" y="100583"/>
                </a:lnTo>
                <a:lnTo>
                  <a:pt x="0" y="148640"/>
                </a:lnTo>
                <a:lnTo>
                  <a:pt x="0" y="201167"/>
                </a:lnTo>
                <a:lnTo>
                  <a:pt x="183197" y="126822"/>
                </a:lnTo>
                <a:lnTo>
                  <a:pt x="183197" y="74333"/>
                </a:lnTo>
                <a:lnTo>
                  <a:pt x="0" y="0"/>
                </a:lnTo>
                <a:close/>
              </a:path>
            </a:pathLst>
          </a:custGeom>
          <a:solidFill>
            <a:srgbClr val="A000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E6E6DC"/>
                </a:solidFill>
                <a:latin typeface="Arial MT"/>
                <a:cs typeface="Arial MT"/>
              </a:defRPr>
            </a:lvl1pPr>
          </a:lstStyle>
          <a:p>
            <a:pPr marL="12700">
              <a:lnSpc>
                <a:spcPts val="919"/>
              </a:lnSpc>
            </a:pPr>
            <a:r>
              <a:rPr spc="30" dirty="0"/>
              <a:t>Copyright</a:t>
            </a:r>
            <a:r>
              <a:rPr spc="-10" dirty="0"/>
              <a:t> </a:t>
            </a:r>
            <a:r>
              <a:rPr spc="95" dirty="0"/>
              <a:t>©</a:t>
            </a:r>
            <a:r>
              <a:rPr spc="50" dirty="0"/>
              <a:t> </a:t>
            </a:r>
            <a:r>
              <a:rPr spc="30" dirty="0"/>
              <a:t>2025 Accenture.</a:t>
            </a:r>
            <a:r>
              <a:rPr spc="-5" dirty="0"/>
              <a:t> </a:t>
            </a:r>
            <a:r>
              <a:rPr spc="30" dirty="0"/>
              <a:t>All</a:t>
            </a:r>
            <a:r>
              <a:rPr spc="40" dirty="0"/>
              <a:t> </a:t>
            </a:r>
            <a:r>
              <a:rPr spc="30" dirty="0"/>
              <a:t>rights</a:t>
            </a:r>
            <a:r>
              <a:rPr spc="10" dirty="0"/>
              <a:t> </a:t>
            </a:r>
            <a:r>
              <a:rPr spc="-10" dirty="0"/>
              <a:t>reserved.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3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bg1"/>
                </a:solidFill>
                <a:latin typeface="Arial MT"/>
                <a:cs typeface="Arial MT"/>
              </a:defRPr>
            </a:lvl1pPr>
          </a:lstStyle>
          <a:p>
            <a:pPr marL="38100">
              <a:lnSpc>
                <a:spcPts val="919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9300522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380212" y="6483680"/>
            <a:ext cx="183515" cy="201295"/>
          </a:xfrm>
          <a:custGeom>
            <a:avLst/>
            <a:gdLst/>
            <a:ahLst/>
            <a:cxnLst/>
            <a:rect l="l" t="t" r="r" b="b"/>
            <a:pathLst>
              <a:path w="183515" h="201295">
                <a:moveTo>
                  <a:pt x="0" y="0"/>
                </a:moveTo>
                <a:lnTo>
                  <a:pt x="0" y="52527"/>
                </a:lnTo>
                <a:lnTo>
                  <a:pt x="118452" y="100583"/>
                </a:lnTo>
                <a:lnTo>
                  <a:pt x="0" y="148640"/>
                </a:lnTo>
                <a:lnTo>
                  <a:pt x="0" y="201167"/>
                </a:lnTo>
                <a:lnTo>
                  <a:pt x="183197" y="126822"/>
                </a:lnTo>
                <a:lnTo>
                  <a:pt x="183197" y="74333"/>
                </a:lnTo>
                <a:lnTo>
                  <a:pt x="0" y="0"/>
                </a:lnTo>
                <a:close/>
              </a:path>
            </a:pathLst>
          </a:custGeom>
          <a:solidFill>
            <a:srgbClr val="A000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6319239"/>
            <a:ext cx="12191999" cy="538759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380212" y="6483680"/>
            <a:ext cx="183515" cy="201295"/>
          </a:xfrm>
          <a:custGeom>
            <a:avLst/>
            <a:gdLst/>
            <a:ahLst/>
            <a:cxnLst/>
            <a:rect l="l" t="t" r="r" b="b"/>
            <a:pathLst>
              <a:path w="183515" h="201295">
                <a:moveTo>
                  <a:pt x="0" y="0"/>
                </a:moveTo>
                <a:lnTo>
                  <a:pt x="0" y="52527"/>
                </a:lnTo>
                <a:lnTo>
                  <a:pt x="118452" y="100583"/>
                </a:lnTo>
                <a:lnTo>
                  <a:pt x="0" y="148640"/>
                </a:lnTo>
                <a:lnTo>
                  <a:pt x="0" y="201167"/>
                </a:lnTo>
                <a:lnTo>
                  <a:pt x="183197" y="126822"/>
                </a:lnTo>
                <a:lnTo>
                  <a:pt x="183197" y="743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0" y="2552445"/>
            <a:ext cx="489584" cy="2272665"/>
          </a:xfrm>
          <a:custGeom>
            <a:avLst/>
            <a:gdLst/>
            <a:ahLst/>
            <a:cxnLst/>
            <a:rect l="l" t="t" r="r" b="b"/>
            <a:pathLst>
              <a:path w="489584" h="2272665">
                <a:moveTo>
                  <a:pt x="489102" y="0"/>
                </a:moveTo>
                <a:lnTo>
                  <a:pt x="0" y="0"/>
                </a:lnTo>
                <a:lnTo>
                  <a:pt x="0" y="2272156"/>
                </a:lnTo>
                <a:lnTo>
                  <a:pt x="489102" y="2272156"/>
                </a:lnTo>
                <a:lnTo>
                  <a:pt x="489102" y="0"/>
                </a:lnTo>
                <a:close/>
              </a:path>
            </a:pathLst>
          </a:custGeom>
          <a:solidFill>
            <a:srgbClr val="750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2691383"/>
            <a:ext cx="511302" cy="567689"/>
          </a:xfrm>
          <a:prstGeom prst="rect">
            <a:avLst/>
          </a:prstGeom>
        </p:spPr>
      </p:pic>
      <p:pic>
        <p:nvPicPr>
          <p:cNvPr id="21" name="bg object 2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095" y="2996183"/>
            <a:ext cx="497573" cy="567689"/>
          </a:xfrm>
          <a:prstGeom prst="rect">
            <a:avLst/>
          </a:prstGeom>
        </p:spPr>
      </p:pic>
      <p:pic>
        <p:nvPicPr>
          <p:cNvPr id="22" name="bg object 22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0667" y="3300983"/>
            <a:ext cx="488429" cy="567689"/>
          </a:xfrm>
          <a:prstGeom prst="rect">
            <a:avLst/>
          </a:prstGeom>
        </p:spPr>
      </p:pic>
      <p:pic>
        <p:nvPicPr>
          <p:cNvPr id="23" name="bg object 23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0" y="3605783"/>
            <a:ext cx="529590" cy="567689"/>
          </a:xfrm>
          <a:prstGeom prst="rect">
            <a:avLst/>
          </a:prstGeom>
        </p:spPr>
      </p:pic>
      <p:pic>
        <p:nvPicPr>
          <p:cNvPr id="24" name="bg object 24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3910583"/>
            <a:ext cx="514350" cy="567689"/>
          </a:xfrm>
          <a:prstGeom prst="rect">
            <a:avLst/>
          </a:prstGeom>
        </p:spPr>
      </p:pic>
      <p:pic>
        <p:nvPicPr>
          <p:cNvPr id="25" name="bg object 2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095" y="4215383"/>
            <a:ext cx="497573" cy="567689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E6E6DC"/>
                </a:solidFill>
                <a:latin typeface="Arial MT"/>
                <a:cs typeface="Arial MT"/>
              </a:defRPr>
            </a:lvl1pPr>
          </a:lstStyle>
          <a:p>
            <a:pPr marL="12700">
              <a:lnSpc>
                <a:spcPts val="919"/>
              </a:lnSpc>
            </a:pPr>
            <a:r>
              <a:rPr spc="30" dirty="0"/>
              <a:t>Copyright</a:t>
            </a:r>
            <a:r>
              <a:rPr spc="-10" dirty="0"/>
              <a:t> </a:t>
            </a:r>
            <a:r>
              <a:rPr spc="95" dirty="0"/>
              <a:t>©</a:t>
            </a:r>
            <a:r>
              <a:rPr spc="50" dirty="0"/>
              <a:t> </a:t>
            </a:r>
            <a:r>
              <a:rPr spc="30" dirty="0"/>
              <a:t>2025 Accenture.</a:t>
            </a:r>
            <a:r>
              <a:rPr spc="-5" dirty="0"/>
              <a:t> </a:t>
            </a:r>
            <a:r>
              <a:rPr spc="30" dirty="0"/>
              <a:t>All</a:t>
            </a:r>
            <a:r>
              <a:rPr spc="40" dirty="0"/>
              <a:t> </a:t>
            </a:r>
            <a:r>
              <a:rPr spc="30" dirty="0"/>
              <a:t>rights</a:t>
            </a:r>
            <a:r>
              <a:rPr spc="10" dirty="0"/>
              <a:t> </a:t>
            </a:r>
            <a:r>
              <a:rPr spc="-10" dirty="0"/>
              <a:t>reserved.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3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bg1"/>
                </a:solidFill>
                <a:latin typeface="Arial MT"/>
                <a:cs typeface="Arial MT"/>
              </a:defRPr>
            </a:lvl1pPr>
          </a:lstStyle>
          <a:p>
            <a:pPr marL="38100">
              <a:lnSpc>
                <a:spcPts val="919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2532236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E6E6DC"/>
                </a:solidFill>
                <a:latin typeface="Arial MT"/>
                <a:cs typeface="Arial MT"/>
              </a:defRPr>
            </a:lvl1pPr>
          </a:lstStyle>
          <a:p>
            <a:pPr marL="12700">
              <a:lnSpc>
                <a:spcPts val="919"/>
              </a:lnSpc>
            </a:pPr>
            <a:r>
              <a:rPr spc="30" dirty="0"/>
              <a:t>Copyright</a:t>
            </a:r>
            <a:r>
              <a:rPr spc="-10" dirty="0"/>
              <a:t> </a:t>
            </a:r>
            <a:r>
              <a:rPr spc="95" dirty="0"/>
              <a:t>©</a:t>
            </a:r>
            <a:r>
              <a:rPr spc="50" dirty="0"/>
              <a:t> </a:t>
            </a:r>
            <a:r>
              <a:rPr spc="30" dirty="0"/>
              <a:t>2025 Accenture.</a:t>
            </a:r>
            <a:r>
              <a:rPr spc="-5" dirty="0"/>
              <a:t> </a:t>
            </a:r>
            <a:r>
              <a:rPr spc="30" dirty="0"/>
              <a:t>All</a:t>
            </a:r>
            <a:r>
              <a:rPr spc="40" dirty="0"/>
              <a:t> </a:t>
            </a:r>
            <a:r>
              <a:rPr spc="30" dirty="0"/>
              <a:t>rights</a:t>
            </a:r>
            <a:r>
              <a:rPr spc="10" dirty="0"/>
              <a:t> </a:t>
            </a:r>
            <a:r>
              <a:rPr spc="-10" dirty="0"/>
              <a:t>reserved.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3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bg1"/>
                </a:solidFill>
                <a:latin typeface="Arial MT"/>
                <a:cs typeface="Arial MT"/>
              </a:defRPr>
            </a:lvl1pPr>
          </a:lstStyle>
          <a:p>
            <a:pPr marL="38100">
              <a:lnSpc>
                <a:spcPts val="919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8693639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E6E6DC"/>
                </a:solidFill>
                <a:latin typeface="Arial MT"/>
                <a:cs typeface="Arial MT"/>
              </a:defRPr>
            </a:lvl1pPr>
          </a:lstStyle>
          <a:p>
            <a:pPr marL="12700">
              <a:lnSpc>
                <a:spcPts val="919"/>
              </a:lnSpc>
            </a:pPr>
            <a:r>
              <a:rPr spc="30" dirty="0"/>
              <a:t>Copyright</a:t>
            </a:r>
            <a:r>
              <a:rPr spc="-10" dirty="0"/>
              <a:t> </a:t>
            </a:r>
            <a:r>
              <a:rPr spc="95" dirty="0"/>
              <a:t>©</a:t>
            </a:r>
            <a:r>
              <a:rPr spc="50" dirty="0"/>
              <a:t> </a:t>
            </a:r>
            <a:r>
              <a:rPr spc="30" dirty="0"/>
              <a:t>2025 Accenture.</a:t>
            </a:r>
            <a:r>
              <a:rPr spc="-5" dirty="0"/>
              <a:t> </a:t>
            </a:r>
            <a:r>
              <a:rPr spc="30" dirty="0"/>
              <a:t>All</a:t>
            </a:r>
            <a:r>
              <a:rPr spc="40" dirty="0"/>
              <a:t> </a:t>
            </a:r>
            <a:r>
              <a:rPr spc="30" dirty="0"/>
              <a:t>rights</a:t>
            </a:r>
            <a:r>
              <a:rPr spc="10" dirty="0"/>
              <a:t> </a:t>
            </a:r>
            <a:r>
              <a:rPr spc="-10" dirty="0"/>
              <a:t>reserved.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3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bg1"/>
                </a:solidFill>
                <a:latin typeface="Arial MT"/>
                <a:cs typeface="Arial MT"/>
              </a:defRPr>
            </a:lvl1pPr>
          </a:lstStyle>
          <a:p>
            <a:pPr marL="38100">
              <a:lnSpc>
                <a:spcPts val="919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222518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481612-058D-4A52-B93E-53E75F305C81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C6212C50-BB96-4C0C-BC89-2B3C8082149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A65B91D-87CB-4DC8-B4B1-CE82A8E5C6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102C68A-98DA-4EBB-AAFF-D0C6E56ADE1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334447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6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153213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78888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5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9" name="GTS_WH" descr="Accenture Greater Than symbol in white">
            <a:extLst>
              <a:ext uri="{FF2B5EF4-FFF2-40B4-BE49-F238E27FC236}">
                <a16:creationId xmlns:a16="http://schemas.microsoft.com/office/drawing/2014/main" id="{08C622A3-6AC3-418E-A8AE-75B117754CF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381001" y="560781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22524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3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bullet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  <a:endParaRPr lang="en-GB" dirty="0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4206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579F8F84-C929-872C-62A1-7D907CCC4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51CCF0F-A037-7B9F-D061-53E935A335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copy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E3D777D-8B2D-D20F-B731-27F17E2F44D8}"/>
              </a:ext>
            </a:extLst>
          </p:cNvPr>
          <p:cNvSpPr txBox="1"/>
          <p:nvPr userDrawn="1"/>
        </p:nvSpPr>
        <p:spPr>
          <a:xfrm>
            <a:off x="8424570" y="6408847"/>
            <a:ext cx="311211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5 Accentur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11A6941-77FF-59BB-C83F-10C415AC6510}"/>
              </a:ext>
            </a:extLst>
          </p:cNvPr>
          <p:cNvSpPr txBox="1"/>
          <p:nvPr userDrawn="1"/>
        </p:nvSpPr>
        <p:spPr>
          <a:xfrm>
            <a:off x="11536680" y="6408847"/>
            <a:ext cx="274320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60F9016-1DF6-76B0-3420-8DB729078045}"/>
              </a:ext>
            </a:extLst>
          </p:cNvPr>
          <p:cNvGrpSpPr/>
          <p:nvPr userDrawn="1"/>
        </p:nvGrpSpPr>
        <p:grpSpPr>
          <a:xfrm>
            <a:off x="400050" y="6345484"/>
            <a:ext cx="856530" cy="225127"/>
            <a:chOff x="400050" y="6345484"/>
            <a:chExt cx="856530" cy="225127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852D3A65-6E15-51B5-8C7E-81893816C0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1647" y="6345484"/>
              <a:ext cx="84141" cy="89456"/>
            </a:xfrm>
            <a:custGeom>
              <a:avLst/>
              <a:gdLst>
                <a:gd name="T0" fmla="*/ 0 w 128"/>
                <a:gd name="T1" fmla="*/ 96 h 136"/>
                <a:gd name="T2" fmla="*/ 76 w 128"/>
                <a:gd name="T3" fmla="*/ 68 h 136"/>
                <a:gd name="T4" fmla="*/ 0 w 128"/>
                <a:gd name="T5" fmla="*/ 38 h 136"/>
                <a:gd name="T6" fmla="*/ 0 w 128"/>
                <a:gd name="T7" fmla="*/ 0 h 136"/>
                <a:gd name="T8" fmla="*/ 128 w 128"/>
                <a:gd name="T9" fmla="*/ 52 h 136"/>
                <a:gd name="T10" fmla="*/ 128 w 128"/>
                <a:gd name="T11" fmla="*/ 84 h 136"/>
                <a:gd name="T12" fmla="*/ 0 w 128"/>
                <a:gd name="T13" fmla="*/ 136 h 136"/>
                <a:gd name="T14" fmla="*/ 0 w 128"/>
                <a:gd name="T15" fmla="*/ 9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36">
                  <a:moveTo>
                    <a:pt x="0" y="96"/>
                  </a:moveTo>
                  <a:lnTo>
                    <a:pt x="76" y="68"/>
                  </a:lnTo>
                  <a:lnTo>
                    <a:pt x="0" y="38"/>
                  </a:lnTo>
                  <a:lnTo>
                    <a:pt x="0" y="0"/>
                  </a:lnTo>
                  <a:lnTo>
                    <a:pt x="128" y="52"/>
                  </a:lnTo>
                  <a:lnTo>
                    <a:pt x="128" y="84"/>
                  </a:lnTo>
                  <a:lnTo>
                    <a:pt x="0" y="136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D738CBC4-F8D5-D307-6C84-FCBB8B60A9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0050" y="6439059"/>
              <a:ext cx="856530" cy="131552"/>
            </a:xfrm>
            <a:custGeom>
              <a:avLst/>
              <a:gdLst>
                <a:gd name="T0" fmla="*/ 4 w 1303"/>
                <a:gd name="T1" fmla="*/ 176 h 200"/>
                <a:gd name="T2" fmla="*/ 20 w 1303"/>
                <a:gd name="T3" fmla="*/ 116 h 200"/>
                <a:gd name="T4" fmla="*/ 88 w 1303"/>
                <a:gd name="T5" fmla="*/ 88 h 200"/>
                <a:gd name="T6" fmla="*/ 44 w 1303"/>
                <a:gd name="T7" fmla="*/ 92 h 200"/>
                <a:gd name="T8" fmla="*/ 44 w 1303"/>
                <a:gd name="T9" fmla="*/ 46 h 200"/>
                <a:gd name="T10" fmla="*/ 122 w 1303"/>
                <a:gd name="T11" fmla="*/ 62 h 200"/>
                <a:gd name="T12" fmla="*/ 84 w 1303"/>
                <a:gd name="T13" fmla="*/ 188 h 200"/>
                <a:gd name="T14" fmla="*/ 72 w 1303"/>
                <a:gd name="T15" fmla="*/ 132 h 200"/>
                <a:gd name="T16" fmla="*/ 46 w 1303"/>
                <a:gd name="T17" fmla="*/ 166 h 200"/>
                <a:gd name="T18" fmla="*/ 90 w 1303"/>
                <a:gd name="T19" fmla="*/ 146 h 200"/>
                <a:gd name="T20" fmla="*/ 166 w 1303"/>
                <a:gd name="T21" fmla="*/ 170 h 200"/>
                <a:gd name="T22" fmla="*/ 166 w 1303"/>
                <a:gd name="T23" fmla="*/ 74 h 200"/>
                <a:gd name="T24" fmla="*/ 252 w 1303"/>
                <a:gd name="T25" fmla="*/ 46 h 200"/>
                <a:gd name="T26" fmla="*/ 252 w 1303"/>
                <a:gd name="T27" fmla="*/ 100 h 200"/>
                <a:gd name="T28" fmla="*/ 210 w 1303"/>
                <a:gd name="T29" fmla="*/ 82 h 200"/>
                <a:gd name="T30" fmla="*/ 200 w 1303"/>
                <a:gd name="T31" fmla="*/ 144 h 200"/>
                <a:gd name="T32" fmla="*/ 238 w 1303"/>
                <a:gd name="T33" fmla="*/ 166 h 200"/>
                <a:gd name="T34" fmla="*/ 282 w 1303"/>
                <a:gd name="T35" fmla="*/ 174 h 200"/>
                <a:gd name="T36" fmla="*/ 384 w 1303"/>
                <a:gd name="T37" fmla="*/ 200 h 200"/>
                <a:gd name="T38" fmla="*/ 312 w 1303"/>
                <a:gd name="T39" fmla="*/ 122 h 200"/>
                <a:gd name="T40" fmla="*/ 356 w 1303"/>
                <a:gd name="T41" fmla="*/ 48 h 200"/>
                <a:gd name="T42" fmla="*/ 436 w 1303"/>
                <a:gd name="T43" fmla="*/ 64 h 200"/>
                <a:gd name="T44" fmla="*/ 394 w 1303"/>
                <a:gd name="T45" fmla="*/ 76 h 200"/>
                <a:gd name="T46" fmla="*/ 356 w 1303"/>
                <a:gd name="T47" fmla="*/ 100 h 200"/>
                <a:gd name="T48" fmla="*/ 366 w 1303"/>
                <a:gd name="T49" fmla="*/ 162 h 200"/>
                <a:gd name="T50" fmla="*/ 412 w 1303"/>
                <a:gd name="T51" fmla="*/ 140 h 200"/>
                <a:gd name="T52" fmla="*/ 410 w 1303"/>
                <a:gd name="T53" fmla="*/ 196 h 200"/>
                <a:gd name="T54" fmla="*/ 498 w 1303"/>
                <a:gd name="T55" fmla="*/ 188 h 200"/>
                <a:gd name="T56" fmla="*/ 470 w 1303"/>
                <a:gd name="T57" fmla="*/ 102 h 200"/>
                <a:gd name="T58" fmla="*/ 540 w 1303"/>
                <a:gd name="T59" fmla="*/ 42 h 200"/>
                <a:gd name="T60" fmla="*/ 608 w 1303"/>
                <a:gd name="T61" fmla="*/ 114 h 200"/>
                <a:gd name="T62" fmla="*/ 530 w 1303"/>
                <a:gd name="T63" fmla="*/ 168 h 200"/>
                <a:gd name="T64" fmla="*/ 608 w 1303"/>
                <a:gd name="T65" fmla="*/ 150 h 200"/>
                <a:gd name="T66" fmla="*/ 540 w 1303"/>
                <a:gd name="T67" fmla="*/ 200 h 200"/>
                <a:gd name="T68" fmla="*/ 556 w 1303"/>
                <a:gd name="T69" fmla="*/ 76 h 200"/>
                <a:gd name="T70" fmla="*/ 512 w 1303"/>
                <a:gd name="T71" fmla="*/ 104 h 200"/>
                <a:gd name="T72" fmla="*/ 705 w 1303"/>
                <a:gd name="T73" fmla="*/ 44 h 200"/>
                <a:gd name="T74" fmla="*/ 763 w 1303"/>
                <a:gd name="T75" fmla="*/ 72 h 200"/>
                <a:gd name="T76" fmla="*/ 719 w 1303"/>
                <a:gd name="T77" fmla="*/ 82 h 200"/>
                <a:gd name="T78" fmla="*/ 675 w 1303"/>
                <a:gd name="T79" fmla="*/ 196 h 200"/>
                <a:gd name="T80" fmla="*/ 845 w 1303"/>
                <a:gd name="T81" fmla="*/ 148 h 200"/>
                <a:gd name="T82" fmla="*/ 875 w 1303"/>
                <a:gd name="T83" fmla="*/ 162 h 200"/>
                <a:gd name="T84" fmla="*/ 821 w 1303"/>
                <a:gd name="T85" fmla="*/ 192 h 200"/>
                <a:gd name="T86" fmla="*/ 785 w 1303"/>
                <a:gd name="T87" fmla="*/ 46 h 200"/>
                <a:gd name="T88" fmla="*/ 983 w 1303"/>
                <a:gd name="T89" fmla="*/ 184 h 200"/>
                <a:gd name="T90" fmla="*/ 913 w 1303"/>
                <a:gd name="T91" fmla="*/ 188 h 200"/>
                <a:gd name="T92" fmla="*/ 941 w 1303"/>
                <a:gd name="T93" fmla="*/ 142 h 200"/>
                <a:gd name="T94" fmla="*/ 989 w 1303"/>
                <a:gd name="T95" fmla="*/ 152 h 200"/>
                <a:gd name="T96" fmla="*/ 1105 w 1303"/>
                <a:gd name="T97" fmla="*/ 74 h 200"/>
                <a:gd name="T98" fmla="*/ 1123 w 1303"/>
                <a:gd name="T99" fmla="*/ 90 h 200"/>
                <a:gd name="T100" fmla="*/ 1063 w 1303"/>
                <a:gd name="T101" fmla="*/ 46 h 200"/>
                <a:gd name="T102" fmla="*/ 1169 w 1303"/>
                <a:gd name="T103" fmla="*/ 156 h 200"/>
                <a:gd name="T104" fmla="*/ 1183 w 1303"/>
                <a:gd name="T105" fmla="*/ 62 h 200"/>
                <a:gd name="T106" fmla="*/ 1273 w 1303"/>
                <a:gd name="T107" fmla="*/ 52 h 200"/>
                <a:gd name="T108" fmla="*/ 1205 w 1303"/>
                <a:gd name="T109" fmla="*/ 132 h 200"/>
                <a:gd name="T110" fmla="*/ 1247 w 1303"/>
                <a:gd name="T111" fmla="*/ 168 h 200"/>
                <a:gd name="T112" fmla="*/ 1291 w 1303"/>
                <a:gd name="T113" fmla="*/ 178 h 200"/>
                <a:gd name="T114" fmla="*/ 1263 w 1303"/>
                <a:gd name="T115" fmla="*/ 104 h 200"/>
                <a:gd name="T116" fmla="*/ 1235 w 1303"/>
                <a:gd name="T117" fmla="*/ 7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03" h="200">
                  <a:moveTo>
                    <a:pt x="48" y="200"/>
                  </a:moveTo>
                  <a:lnTo>
                    <a:pt x="48" y="200"/>
                  </a:lnTo>
                  <a:lnTo>
                    <a:pt x="38" y="198"/>
                  </a:lnTo>
                  <a:lnTo>
                    <a:pt x="30" y="198"/>
                  </a:lnTo>
                  <a:lnTo>
                    <a:pt x="22" y="194"/>
                  </a:lnTo>
                  <a:lnTo>
                    <a:pt x="14" y="188"/>
                  </a:lnTo>
                  <a:lnTo>
                    <a:pt x="8" y="182"/>
                  </a:lnTo>
                  <a:lnTo>
                    <a:pt x="4" y="176"/>
                  </a:lnTo>
                  <a:lnTo>
                    <a:pt x="0" y="166"/>
                  </a:lnTo>
                  <a:lnTo>
                    <a:pt x="0" y="156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0" y="140"/>
                  </a:lnTo>
                  <a:lnTo>
                    <a:pt x="4" y="130"/>
                  </a:lnTo>
                  <a:lnTo>
                    <a:pt x="12" y="122"/>
                  </a:lnTo>
                  <a:lnTo>
                    <a:pt x="20" y="116"/>
                  </a:lnTo>
                  <a:lnTo>
                    <a:pt x="30" y="110"/>
                  </a:lnTo>
                  <a:lnTo>
                    <a:pt x="42" y="106"/>
                  </a:lnTo>
                  <a:lnTo>
                    <a:pt x="56" y="104"/>
                  </a:lnTo>
                  <a:lnTo>
                    <a:pt x="70" y="104"/>
                  </a:lnTo>
                  <a:lnTo>
                    <a:pt x="90" y="104"/>
                  </a:lnTo>
                  <a:lnTo>
                    <a:pt x="90" y="98"/>
                  </a:lnTo>
                  <a:lnTo>
                    <a:pt x="90" y="98"/>
                  </a:lnTo>
                  <a:lnTo>
                    <a:pt x="88" y="88"/>
                  </a:lnTo>
                  <a:lnTo>
                    <a:pt x="84" y="80"/>
                  </a:lnTo>
                  <a:lnTo>
                    <a:pt x="76" y="74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58" y="74"/>
                  </a:lnTo>
                  <a:lnTo>
                    <a:pt x="50" y="78"/>
                  </a:lnTo>
                  <a:lnTo>
                    <a:pt x="46" y="84"/>
                  </a:lnTo>
                  <a:lnTo>
                    <a:pt x="4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6" y="80"/>
                  </a:lnTo>
                  <a:lnTo>
                    <a:pt x="10" y="70"/>
                  </a:lnTo>
                  <a:lnTo>
                    <a:pt x="16" y="62"/>
                  </a:lnTo>
                  <a:lnTo>
                    <a:pt x="24" y="56"/>
                  </a:lnTo>
                  <a:lnTo>
                    <a:pt x="34" y="50"/>
                  </a:lnTo>
                  <a:lnTo>
                    <a:pt x="44" y="46"/>
                  </a:lnTo>
                  <a:lnTo>
                    <a:pt x="56" y="44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82" y="44"/>
                  </a:lnTo>
                  <a:lnTo>
                    <a:pt x="94" y="46"/>
                  </a:lnTo>
                  <a:lnTo>
                    <a:pt x="104" y="50"/>
                  </a:lnTo>
                  <a:lnTo>
                    <a:pt x="114" y="56"/>
                  </a:lnTo>
                  <a:lnTo>
                    <a:pt x="122" y="62"/>
                  </a:lnTo>
                  <a:lnTo>
                    <a:pt x="126" y="72"/>
                  </a:lnTo>
                  <a:lnTo>
                    <a:pt x="130" y="82"/>
                  </a:lnTo>
                  <a:lnTo>
                    <a:pt x="132" y="96"/>
                  </a:lnTo>
                  <a:lnTo>
                    <a:pt x="132" y="196"/>
                  </a:lnTo>
                  <a:lnTo>
                    <a:pt x="90" y="196"/>
                  </a:lnTo>
                  <a:lnTo>
                    <a:pt x="90" y="180"/>
                  </a:lnTo>
                  <a:lnTo>
                    <a:pt x="90" y="180"/>
                  </a:lnTo>
                  <a:lnTo>
                    <a:pt x="84" y="188"/>
                  </a:lnTo>
                  <a:lnTo>
                    <a:pt x="74" y="194"/>
                  </a:lnTo>
                  <a:lnTo>
                    <a:pt x="62" y="198"/>
                  </a:lnTo>
                  <a:lnTo>
                    <a:pt x="48" y="200"/>
                  </a:lnTo>
                  <a:lnTo>
                    <a:pt x="48" y="200"/>
                  </a:lnTo>
                  <a:close/>
                  <a:moveTo>
                    <a:pt x="90" y="146"/>
                  </a:moveTo>
                  <a:lnTo>
                    <a:pt x="90" y="132"/>
                  </a:lnTo>
                  <a:lnTo>
                    <a:pt x="72" y="132"/>
                  </a:lnTo>
                  <a:lnTo>
                    <a:pt x="72" y="132"/>
                  </a:lnTo>
                  <a:lnTo>
                    <a:pt x="58" y="134"/>
                  </a:lnTo>
                  <a:lnTo>
                    <a:pt x="48" y="136"/>
                  </a:lnTo>
                  <a:lnTo>
                    <a:pt x="44" y="142"/>
                  </a:lnTo>
                  <a:lnTo>
                    <a:pt x="42" y="152"/>
                  </a:lnTo>
                  <a:lnTo>
                    <a:pt x="42" y="152"/>
                  </a:lnTo>
                  <a:lnTo>
                    <a:pt x="42" y="152"/>
                  </a:lnTo>
                  <a:lnTo>
                    <a:pt x="42" y="160"/>
                  </a:lnTo>
                  <a:lnTo>
                    <a:pt x="46" y="166"/>
                  </a:lnTo>
                  <a:lnTo>
                    <a:pt x="52" y="168"/>
                  </a:lnTo>
                  <a:lnTo>
                    <a:pt x="62" y="170"/>
                  </a:lnTo>
                  <a:lnTo>
                    <a:pt x="62" y="170"/>
                  </a:lnTo>
                  <a:lnTo>
                    <a:pt x="72" y="168"/>
                  </a:lnTo>
                  <a:lnTo>
                    <a:pt x="80" y="164"/>
                  </a:lnTo>
                  <a:lnTo>
                    <a:pt x="86" y="156"/>
                  </a:lnTo>
                  <a:lnTo>
                    <a:pt x="88" y="152"/>
                  </a:lnTo>
                  <a:lnTo>
                    <a:pt x="90" y="146"/>
                  </a:lnTo>
                  <a:lnTo>
                    <a:pt x="90" y="146"/>
                  </a:lnTo>
                  <a:close/>
                  <a:moveTo>
                    <a:pt x="226" y="200"/>
                  </a:moveTo>
                  <a:lnTo>
                    <a:pt x="226" y="200"/>
                  </a:lnTo>
                  <a:lnTo>
                    <a:pt x="212" y="198"/>
                  </a:lnTo>
                  <a:lnTo>
                    <a:pt x="198" y="194"/>
                  </a:lnTo>
                  <a:lnTo>
                    <a:pt x="186" y="188"/>
                  </a:lnTo>
                  <a:lnTo>
                    <a:pt x="174" y="180"/>
                  </a:lnTo>
                  <a:lnTo>
                    <a:pt x="166" y="170"/>
                  </a:lnTo>
                  <a:lnTo>
                    <a:pt x="160" y="156"/>
                  </a:lnTo>
                  <a:lnTo>
                    <a:pt x="156" y="140"/>
                  </a:lnTo>
                  <a:lnTo>
                    <a:pt x="154" y="122"/>
                  </a:lnTo>
                  <a:lnTo>
                    <a:pt x="154" y="120"/>
                  </a:lnTo>
                  <a:lnTo>
                    <a:pt x="154" y="120"/>
                  </a:lnTo>
                  <a:lnTo>
                    <a:pt x="156" y="102"/>
                  </a:lnTo>
                  <a:lnTo>
                    <a:pt x="160" y="88"/>
                  </a:lnTo>
                  <a:lnTo>
                    <a:pt x="166" y="74"/>
                  </a:lnTo>
                  <a:lnTo>
                    <a:pt x="176" y="62"/>
                  </a:lnTo>
                  <a:lnTo>
                    <a:pt x="186" y="54"/>
                  </a:lnTo>
                  <a:lnTo>
                    <a:pt x="198" y="48"/>
                  </a:lnTo>
                  <a:lnTo>
                    <a:pt x="212" y="44"/>
                  </a:lnTo>
                  <a:lnTo>
                    <a:pt x="226" y="42"/>
                  </a:lnTo>
                  <a:lnTo>
                    <a:pt x="226" y="42"/>
                  </a:lnTo>
                  <a:lnTo>
                    <a:pt x="240" y="44"/>
                  </a:lnTo>
                  <a:lnTo>
                    <a:pt x="252" y="46"/>
                  </a:lnTo>
                  <a:lnTo>
                    <a:pt x="262" y="50"/>
                  </a:lnTo>
                  <a:lnTo>
                    <a:pt x="272" y="56"/>
                  </a:lnTo>
                  <a:lnTo>
                    <a:pt x="280" y="64"/>
                  </a:lnTo>
                  <a:lnTo>
                    <a:pt x="286" y="74"/>
                  </a:lnTo>
                  <a:lnTo>
                    <a:pt x="290" y="86"/>
                  </a:lnTo>
                  <a:lnTo>
                    <a:pt x="292" y="100"/>
                  </a:lnTo>
                  <a:lnTo>
                    <a:pt x="252" y="100"/>
                  </a:lnTo>
                  <a:lnTo>
                    <a:pt x="252" y="100"/>
                  </a:lnTo>
                  <a:lnTo>
                    <a:pt x="250" y="90"/>
                  </a:lnTo>
                  <a:lnTo>
                    <a:pt x="244" y="82"/>
                  </a:lnTo>
                  <a:lnTo>
                    <a:pt x="238" y="76"/>
                  </a:lnTo>
                  <a:lnTo>
                    <a:pt x="228" y="76"/>
                  </a:lnTo>
                  <a:lnTo>
                    <a:pt x="228" y="76"/>
                  </a:lnTo>
                  <a:lnTo>
                    <a:pt x="222" y="76"/>
                  </a:lnTo>
                  <a:lnTo>
                    <a:pt x="216" y="78"/>
                  </a:lnTo>
                  <a:lnTo>
                    <a:pt x="210" y="82"/>
                  </a:lnTo>
                  <a:lnTo>
                    <a:pt x="206" y="86"/>
                  </a:lnTo>
                  <a:lnTo>
                    <a:pt x="202" y="92"/>
                  </a:lnTo>
                  <a:lnTo>
                    <a:pt x="200" y="100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98" y="124"/>
                  </a:lnTo>
                  <a:lnTo>
                    <a:pt x="198" y="124"/>
                  </a:lnTo>
                  <a:lnTo>
                    <a:pt x="200" y="144"/>
                  </a:lnTo>
                  <a:lnTo>
                    <a:pt x="202" y="152"/>
                  </a:lnTo>
                  <a:lnTo>
                    <a:pt x="206" y="158"/>
                  </a:lnTo>
                  <a:lnTo>
                    <a:pt x="210" y="162"/>
                  </a:lnTo>
                  <a:lnTo>
                    <a:pt x="214" y="166"/>
                  </a:lnTo>
                  <a:lnTo>
                    <a:pt x="220" y="168"/>
                  </a:lnTo>
                  <a:lnTo>
                    <a:pt x="228" y="168"/>
                  </a:lnTo>
                  <a:lnTo>
                    <a:pt x="228" y="168"/>
                  </a:lnTo>
                  <a:lnTo>
                    <a:pt x="238" y="166"/>
                  </a:lnTo>
                  <a:lnTo>
                    <a:pt x="246" y="160"/>
                  </a:lnTo>
                  <a:lnTo>
                    <a:pt x="252" y="152"/>
                  </a:lnTo>
                  <a:lnTo>
                    <a:pt x="256" y="140"/>
                  </a:lnTo>
                  <a:lnTo>
                    <a:pt x="294" y="140"/>
                  </a:lnTo>
                  <a:lnTo>
                    <a:pt x="294" y="140"/>
                  </a:lnTo>
                  <a:lnTo>
                    <a:pt x="292" y="154"/>
                  </a:lnTo>
                  <a:lnTo>
                    <a:pt x="288" y="164"/>
                  </a:lnTo>
                  <a:lnTo>
                    <a:pt x="282" y="174"/>
                  </a:lnTo>
                  <a:lnTo>
                    <a:pt x="274" y="184"/>
                  </a:lnTo>
                  <a:lnTo>
                    <a:pt x="264" y="190"/>
                  </a:lnTo>
                  <a:lnTo>
                    <a:pt x="254" y="196"/>
                  </a:lnTo>
                  <a:lnTo>
                    <a:pt x="240" y="198"/>
                  </a:lnTo>
                  <a:lnTo>
                    <a:pt x="226" y="200"/>
                  </a:lnTo>
                  <a:lnTo>
                    <a:pt x="226" y="200"/>
                  </a:lnTo>
                  <a:close/>
                  <a:moveTo>
                    <a:pt x="384" y="200"/>
                  </a:moveTo>
                  <a:lnTo>
                    <a:pt x="384" y="200"/>
                  </a:lnTo>
                  <a:lnTo>
                    <a:pt x="368" y="198"/>
                  </a:lnTo>
                  <a:lnTo>
                    <a:pt x="354" y="194"/>
                  </a:lnTo>
                  <a:lnTo>
                    <a:pt x="342" y="188"/>
                  </a:lnTo>
                  <a:lnTo>
                    <a:pt x="332" y="180"/>
                  </a:lnTo>
                  <a:lnTo>
                    <a:pt x="322" y="170"/>
                  </a:lnTo>
                  <a:lnTo>
                    <a:pt x="316" y="156"/>
                  </a:lnTo>
                  <a:lnTo>
                    <a:pt x="312" y="140"/>
                  </a:lnTo>
                  <a:lnTo>
                    <a:pt x="312" y="122"/>
                  </a:lnTo>
                  <a:lnTo>
                    <a:pt x="312" y="120"/>
                  </a:lnTo>
                  <a:lnTo>
                    <a:pt x="312" y="120"/>
                  </a:lnTo>
                  <a:lnTo>
                    <a:pt x="312" y="102"/>
                  </a:lnTo>
                  <a:lnTo>
                    <a:pt x="316" y="88"/>
                  </a:lnTo>
                  <a:lnTo>
                    <a:pt x="324" y="74"/>
                  </a:lnTo>
                  <a:lnTo>
                    <a:pt x="332" y="62"/>
                  </a:lnTo>
                  <a:lnTo>
                    <a:pt x="342" y="54"/>
                  </a:lnTo>
                  <a:lnTo>
                    <a:pt x="356" y="48"/>
                  </a:lnTo>
                  <a:lnTo>
                    <a:pt x="368" y="44"/>
                  </a:lnTo>
                  <a:lnTo>
                    <a:pt x="384" y="42"/>
                  </a:lnTo>
                  <a:lnTo>
                    <a:pt x="384" y="42"/>
                  </a:lnTo>
                  <a:lnTo>
                    <a:pt x="396" y="44"/>
                  </a:lnTo>
                  <a:lnTo>
                    <a:pt x="408" y="46"/>
                  </a:lnTo>
                  <a:lnTo>
                    <a:pt x="418" y="50"/>
                  </a:lnTo>
                  <a:lnTo>
                    <a:pt x="428" y="56"/>
                  </a:lnTo>
                  <a:lnTo>
                    <a:pt x="436" y="64"/>
                  </a:lnTo>
                  <a:lnTo>
                    <a:pt x="442" y="74"/>
                  </a:lnTo>
                  <a:lnTo>
                    <a:pt x="446" y="86"/>
                  </a:lnTo>
                  <a:lnTo>
                    <a:pt x="450" y="100"/>
                  </a:lnTo>
                  <a:lnTo>
                    <a:pt x="410" y="100"/>
                  </a:lnTo>
                  <a:lnTo>
                    <a:pt x="410" y="100"/>
                  </a:lnTo>
                  <a:lnTo>
                    <a:pt x="406" y="90"/>
                  </a:lnTo>
                  <a:lnTo>
                    <a:pt x="402" y="82"/>
                  </a:lnTo>
                  <a:lnTo>
                    <a:pt x="394" y="76"/>
                  </a:lnTo>
                  <a:lnTo>
                    <a:pt x="384" y="76"/>
                  </a:lnTo>
                  <a:lnTo>
                    <a:pt x="384" y="76"/>
                  </a:lnTo>
                  <a:lnTo>
                    <a:pt x="378" y="76"/>
                  </a:lnTo>
                  <a:lnTo>
                    <a:pt x="372" y="78"/>
                  </a:lnTo>
                  <a:lnTo>
                    <a:pt x="366" y="82"/>
                  </a:lnTo>
                  <a:lnTo>
                    <a:pt x="362" y="86"/>
                  </a:lnTo>
                  <a:lnTo>
                    <a:pt x="358" y="92"/>
                  </a:lnTo>
                  <a:lnTo>
                    <a:pt x="356" y="100"/>
                  </a:lnTo>
                  <a:lnTo>
                    <a:pt x="354" y="108"/>
                  </a:lnTo>
                  <a:lnTo>
                    <a:pt x="354" y="120"/>
                  </a:lnTo>
                  <a:lnTo>
                    <a:pt x="354" y="124"/>
                  </a:lnTo>
                  <a:lnTo>
                    <a:pt x="354" y="124"/>
                  </a:lnTo>
                  <a:lnTo>
                    <a:pt x="356" y="144"/>
                  </a:lnTo>
                  <a:lnTo>
                    <a:pt x="358" y="152"/>
                  </a:lnTo>
                  <a:lnTo>
                    <a:pt x="362" y="158"/>
                  </a:lnTo>
                  <a:lnTo>
                    <a:pt x="366" y="162"/>
                  </a:lnTo>
                  <a:lnTo>
                    <a:pt x="372" y="166"/>
                  </a:lnTo>
                  <a:lnTo>
                    <a:pt x="378" y="168"/>
                  </a:lnTo>
                  <a:lnTo>
                    <a:pt x="384" y="168"/>
                  </a:lnTo>
                  <a:lnTo>
                    <a:pt x="384" y="168"/>
                  </a:lnTo>
                  <a:lnTo>
                    <a:pt x="394" y="166"/>
                  </a:lnTo>
                  <a:lnTo>
                    <a:pt x="402" y="160"/>
                  </a:lnTo>
                  <a:lnTo>
                    <a:pt x="408" y="152"/>
                  </a:lnTo>
                  <a:lnTo>
                    <a:pt x="412" y="140"/>
                  </a:lnTo>
                  <a:lnTo>
                    <a:pt x="450" y="140"/>
                  </a:lnTo>
                  <a:lnTo>
                    <a:pt x="450" y="140"/>
                  </a:lnTo>
                  <a:lnTo>
                    <a:pt x="448" y="154"/>
                  </a:lnTo>
                  <a:lnTo>
                    <a:pt x="444" y="164"/>
                  </a:lnTo>
                  <a:lnTo>
                    <a:pt x="438" y="174"/>
                  </a:lnTo>
                  <a:lnTo>
                    <a:pt x="430" y="184"/>
                  </a:lnTo>
                  <a:lnTo>
                    <a:pt x="422" y="190"/>
                  </a:lnTo>
                  <a:lnTo>
                    <a:pt x="410" y="196"/>
                  </a:lnTo>
                  <a:lnTo>
                    <a:pt x="398" y="198"/>
                  </a:lnTo>
                  <a:lnTo>
                    <a:pt x="384" y="200"/>
                  </a:lnTo>
                  <a:lnTo>
                    <a:pt x="384" y="200"/>
                  </a:lnTo>
                  <a:close/>
                  <a:moveTo>
                    <a:pt x="540" y="200"/>
                  </a:moveTo>
                  <a:lnTo>
                    <a:pt x="540" y="200"/>
                  </a:lnTo>
                  <a:lnTo>
                    <a:pt x="526" y="198"/>
                  </a:lnTo>
                  <a:lnTo>
                    <a:pt x="512" y="194"/>
                  </a:lnTo>
                  <a:lnTo>
                    <a:pt x="498" y="188"/>
                  </a:lnTo>
                  <a:lnTo>
                    <a:pt x="488" y="180"/>
                  </a:lnTo>
                  <a:lnTo>
                    <a:pt x="480" y="170"/>
                  </a:lnTo>
                  <a:lnTo>
                    <a:pt x="474" y="156"/>
                  </a:lnTo>
                  <a:lnTo>
                    <a:pt x="470" y="142"/>
                  </a:lnTo>
                  <a:lnTo>
                    <a:pt x="468" y="124"/>
                  </a:lnTo>
                  <a:lnTo>
                    <a:pt x="468" y="120"/>
                  </a:lnTo>
                  <a:lnTo>
                    <a:pt x="468" y="120"/>
                  </a:lnTo>
                  <a:lnTo>
                    <a:pt x="470" y="102"/>
                  </a:lnTo>
                  <a:lnTo>
                    <a:pt x="474" y="88"/>
                  </a:lnTo>
                  <a:lnTo>
                    <a:pt x="480" y="74"/>
                  </a:lnTo>
                  <a:lnTo>
                    <a:pt x="488" y="62"/>
                  </a:lnTo>
                  <a:lnTo>
                    <a:pt x="500" y="54"/>
                  </a:lnTo>
                  <a:lnTo>
                    <a:pt x="512" y="48"/>
                  </a:lnTo>
                  <a:lnTo>
                    <a:pt x="524" y="44"/>
                  </a:lnTo>
                  <a:lnTo>
                    <a:pt x="540" y="42"/>
                  </a:lnTo>
                  <a:lnTo>
                    <a:pt x="540" y="42"/>
                  </a:lnTo>
                  <a:lnTo>
                    <a:pt x="554" y="44"/>
                  </a:lnTo>
                  <a:lnTo>
                    <a:pt x="566" y="46"/>
                  </a:lnTo>
                  <a:lnTo>
                    <a:pt x="578" y="52"/>
                  </a:lnTo>
                  <a:lnTo>
                    <a:pt x="588" y="60"/>
                  </a:lnTo>
                  <a:lnTo>
                    <a:pt x="596" y="70"/>
                  </a:lnTo>
                  <a:lnTo>
                    <a:pt x="602" y="82"/>
                  </a:lnTo>
                  <a:lnTo>
                    <a:pt x="606" y="96"/>
                  </a:lnTo>
                  <a:lnTo>
                    <a:pt x="608" y="114"/>
                  </a:lnTo>
                  <a:lnTo>
                    <a:pt x="608" y="132"/>
                  </a:lnTo>
                  <a:lnTo>
                    <a:pt x="510" y="132"/>
                  </a:lnTo>
                  <a:lnTo>
                    <a:pt x="510" y="132"/>
                  </a:lnTo>
                  <a:lnTo>
                    <a:pt x="514" y="148"/>
                  </a:lnTo>
                  <a:lnTo>
                    <a:pt x="516" y="156"/>
                  </a:lnTo>
                  <a:lnTo>
                    <a:pt x="520" y="160"/>
                  </a:lnTo>
                  <a:lnTo>
                    <a:pt x="524" y="164"/>
                  </a:lnTo>
                  <a:lnTo>
                    <a:pt x="530" y="168"/>
                  </a:lnTo>
                  <a:lnTo>
                    <a:pt x="542" y="170"/>
                  </a:lnTo>
                  <a:lnTo>
                    <a:pt x="542" y="170"/>
                  </a:lnTo>
                  <a:lnTo>
                    <a:pt x="552" y="168"/>
                  </a:lnTo>
                  <a:lnTo>
                    <a:pt x="560" y="164"/>
                  </a:lnTo>
                  <a:lnTo>
                    <a:pt x="566" y="158"/>
                  </a:lnTo>
                  <a:lnTo>
                    <a:pt x="570" y="150"/>
                  </a:lnTo>
                  <a:lnTo>
                    <a:pt x="608" y="150"/>
                  </a:lnTo>
                  <a:lnTo>
                    <a:pt x="608" y="150"/>
                  </a:lnTo>
                  <a:lnTo>
                    <a:pt x="606" y="160"/>
                  </a:lnTo>
                  <a:lnTo>
                    <a:pt x="602" y="170"/>
                  </a:lnTo>
                  <a:lnTo>
                    <a:pt x="596" y="178"/>
                  </a:lnTo>
                  <a:lnTo>
                    <a:pt x="588" y="186"/>
                  </a:lnTo>
                  <a:lnTo>
                    <a:pt x="578" y="192"/>
                  </a:lnTo>
                  <a:lnTo>
                    <a:pt x="568" y="196"/>
                  </a:lnTo>
                  <a:lnTo>
                    <a:pt x="556" y="198"/>
                  </a:lnTo>
                  <a:lnTo>
                    <a:pt x="540" y="200"/>
                  </a:lnTo>
                  <a:lnTo>
                    <a:pt x="540" y="200"/>
                  </a:lnTo>
                  <a:close/>
                  <a:moveTo>
                    <a:pt x="512" y="104"/>
                  </a:moveTo>
                  <a:lnTo>
                    <a:pt x="568" y="104"/>
                  </a:lnTo>
                  <a:lnTo>
                    <a:pt x="568" y="104"/>
                  </a:lnTo>
                  <a:lnTo>
                    <a:pt x="566" y="90"/>
                  </a:lnTo>
                  <a:lnTo>
                    <a:pt x="562" y="84"/>
                  </a:lnTo>
                  <a:lnTo>
                    <a:pt x="560" y="80"/>
                  </a:lnTo>
                  <a:lnTo>
                    <a:pt x="556" y="76"/>
                  </a:lnTo>
                  <a:lnTo>
                    <a:pt x="552" y="74"/>
                  </a:lnTo>
                  <a:lnTo>
                    <a:pt x="540" y="72"/>
                  </a:lnTo>
                  <a:lnTo>
                    <a:pt x="540" y="72"/>
                  </a:lnTo>
                  <a:lnTo>
                    <a:pt x="530" y="74"/>
                  </a:lnTo>
                  <a:lnTo>
                    <a:pt x="522" y="78"/>
                  </a:lnTo>
                  <a:lnTo>
                    <a:pt x="518" y="82"/>
                  </a:lnTo>
                  <a:lnTo>
                    <a:pt x="516" y="88"/>
                  </a:lnTo>
                  <a:lnTo>
                    <a:pt x="512" y="104"/>
                  </a:lnTo>
                  <a:lnTo>
                    <a:pt x="512" y="104"/>
                  </a:lnTo>
                  <a:close/>
                  <a:moveTo>
                    <a:pt x="634" y="46"/>
                  </a:moveTo>
                  <a:lnTo>
                    <a:pt x="675" y="46"/>
                  </a:lnTo>
                  <a:lnTo>
                    <a:pt x="675" y="68"/>
                  </a:lnTo>
                  <a:lnTo>
                    <a:pt x="675" y="68"/>
                  </a:lnTo>
                  <a:lnTo>
                    <a:pt x="683" y="58"/>
                  </a:lnTo>
                  <a:lnTo>
                    <a:pt x="693" y="50"/>
                  </a:lnTo>
                  <a:lnTo>
                    <a:pt x="705" y="44"/>
                  </a:lnTo>
                  <a:lnTo>
                    <a:pt x="721" y="42"/>
                  </a:lnTo>
                  <a:lnTo>
                    <a:pt x="721" y="42"/>
                  </a:lnTo>
                  <a:lnTo>
                    <a:pt x="731" y="44"/>
                  </a:lnTo>
                  <a:lnTo>
                    <a:pt x="739" y="46"/>
                  </a:lnTo>
                  <a:lnTo>
                    <a:pt x="747" y="50"/>
                  </a:lnTo>
                  <a:lnTo>
                    <a:pt x="753" y="56"/>
                  </a:lnTo>
                  <a:lnTo>
                    <a:pt x="759" y="62"/>
                  </a:lnTo>
                  <a:lnTo>
                    <a:pt x="763" y="72"/>
                  </a:lnTo>
                  <a:lnTo>
                    <a:pt x="765" y="82"/>
                  </a:lnTo>
                  <a:lnTo>
                    <a:pt x="767" y="96"/>
                  </a:lnTo>
                  <a:lnTo>
                    <a:pt x="767" y="196"/>
                  </a:lnTo>
                  <a:lnTo>
                    <a:pt x="725" y="196"/>
                  </a:lnTo>
                  <a:lnTo>
                    <a:pt x="725" y="102"/>
                  </a:lnTo>
                  <a:lnTo>
                    <a:pt x="725" y="102"/>
                  </a:lnTo>
                  <a:lnTo>
                    <a:pt x="723" y="90"/>
                  </a:lnTo>
                  <a:lnTo>
                    <a:pt x="719" y="82"/>
                  </a:lnTo>
                  <a:lnTo>
                    <a:pt x="711" y="78"/>
                  </a:lnTo>
                  <a:lnTo>
                    <a:pt x="701" y="76"/>
                  </a:lnTo>
                  <a:lnTo>
                    <a:pt x="701" y="76"/>
                  </a:lnTo>
                  <a:lnTo>
                    <a:pt x="691" y="78"/>
                  </a:lnTo>
                  <a:lnTo>
                    <a:pt x="683" y="84"/>
                  </a:lnTo>
                  <a:lnTo>
                    <a:pt x="677" y="92"/>
                  </a:lnTo>
                  <a:lnTo>
                    <a:pt x="675" y="104"/>
                  </a:lnTo>
                  <a:lnTo>
                    <a:pt x="675" y="196"/>
                  </a:lnTo>
                  <a:lnTo>
                    <a:pt x="634" y="196"/>
                  </a:lnTo>
                  <a:lnTo>
                    <a:pt x="634" y="46"/>
                  </a:lnTo>
                  <a:close/>
                  <a:moveTo>
                    <a:pt x="845" y="0"/>
                  </a:moveTo>
                  <a:lnTo>
                    <a:pt x="845" y="46"/>
                  </a:lnTo>
                  <a:lnTo>
                    <a:pt x="873" y="46"/>
                  </a:lnTo>
                  <a:lnTo>
                    <a:pt x="873" y="78"/>
                  </a:lnTo>
                  <a:lnTo>
                    <a:pt x="845" y="78"/>
                  </a:lnTo>
                  <a:lnTo>
                    <a:pt x="845" y="148"/>
                  </a:lnTo>
                  <a:lnTo>
                    <a:pt x="845" y="148"/>
                  </a:lnTo>
                  <a:lnTo>
                    <a:pt x="845" y="156"/>
                  </a:lnTo>
                  <a:lnTo>
                    <a:pt x="849" y="162"/>
                  </a:lnTo>
                  <a:lnTo>
                    <a:pt x="853" y="164"/>
                  </a:lnTo>
                  <a:lnTo>
                    <a:pt x="859" y="166"/>
                  </a:lnTo>
                  <a:lnTo>
                    <a:pt x="859" y="166"/>
                  </a:lnTo>
                  <a:lnTo>
                    <a:pt x="869" y="164"/>
                  </a:lnTo>
                  <a:lnTo>
                    <a:pt x="875" y="162"/>
                  </a:lnTo>
                  <a:lnTo>
                    <a:pt x="875" y="196"/>
                  </a:lnTo>
                  <a:lnTo>
                    <a:pt x="875" y="196"/>
                  </a:lnTo>
                  <a:lnTo>
                    <a:pt x="865" y="198"/>
                  </a:lnTo>
                  <a:lnTo>
                    <a:pt x="851" y="198"/>
                  </a:lnTo>
                  <a:lnTo>
                    <a:pt x="851" y="198"/>
                  </a:lnTo>
                  <a:lnTo>
                    <a:pt x="839" y="198"/>
                  </a:lnTo>
                  <a:lnTo>
                    <a:pt x="829" y="196"/>
                  </a:lnTo>
                  <a:lnTo>
                    <a:pt x="821" y="192"/>
                  </a:lnTo>
                  <a:lnTo>
                    <a:pt x="815" y="188"/>
                  </a:lnTo>
                  <a:lnTo>
                    <a:pt x="809" y="180"/>
                  </a:lnTo>
                  <a:lnTo>
                    <a:pt x="805" y="172"/>
                  </a:lnTo>
                  <a:lnTo>
                    <a:pt x="803" y="164"/>
                  </a:lnTo>
                  <a:lnTo>
                    <a:pt x="803" y="152"/>
                  </a:lnTo>
                  <a:lnTo>
                    <a:pt x="803" y="78"/>
                  </a:lnTo>
                  <a:lnTo>
                    <a:pt x="785" y="78"/>
                  </a:lnTo>
                  <a:lnTo>
                    <a:pt x="785" y="46"/>
                  </a:lnTo>
                  <a:lnTo>
                    <a:pt x="803" y="46"/>
                  </a:lnTo>
                  <a:lnTo>
                    <a:pt x="803" y="18"/>
                  </a:lnTo>
                  <a:lnTo>
                    <a:pt x="845" y="0"/>
                  </a:lnTo>
                  <a:close/>
                  <a:moveTo>
                    <a:pt x="1033" y="196"/>
                  </a:moveTo>
                  <a:lnTo>
                    <a:pt x="991" y="196"/>
                  </a:lnTo>
                  <a:lnTo>
                    <a:pt x="991" y="174"/>
                  </a:lnTo>
                  <a:lnTo>
                    <a:pt x="991" y="174"/>
                  </a:lnTo>
                  <a:lnTo>
                    <a:pt x="983" y="184"/>
                  </a:lnTo>
                  <a:lnTo>
                    <a:pt x="973" y="192"/>
                  </a:lnTo>
                  <a:lnTo>
                    <a:pt x="961" y="198"/>
                  </a:lnTo>
                  <a:lnTo>
                    <a:pt x="947" y="200"/>
                  </a:lnTo>
                  <a:lnTo>
                    <a:pt x="947" y="200"/>
                  </a:lnTo>
                  <a:lnTo>
                    <a:pt x="937" y="198"/>
                  </a:lnTo>
                  <a:lnTo>
                    <a:pt x="927" y="196"/>
                  </a:lnTo>
                  <a:lnTo>
                    <a:pt x="919" y="192"/>
                  </a:lnTo>
                  <a:lnTo>
                    <a:pt x="913" y="188"/>
                  </a:lnTo>
                  <a:lnTo>
                    <a:pt x="907" y="180"/>
                  </a:lnTo>
                  <a:lnTo>
                    <a:pt x="903" y="170"/>
                  </a:lnTo>
                  <a:lnTo>
                    <a:pt x="901" y="160"/>
                  </a:lnTo>
                  <a:lnTo>
                    <a:pt x="899" y="148"/>
                  </a:lnTo>
                  <a:lnTo>
                    <a:pt x="899" y="46"/>
                  </a:lnTo>
                  <a:lnTo>
                    <a:pt x="941" y="46"/>
                  </a:lnTo>
                  <a:lnTo>
                    <a:pt x="941" y="142"/>
                  </a:lnTo>
                  <a:lnTo>
                    <a:pt x="941" y="142"/>
                  </a:lnTo>
                  <a:lnTo>
                    <a:pt x="943" y="152"/>
                  </a:lnTo>
                  <a:lnTo>
                    <a:pt x="947" y="160"/>
                  </a:lnTo>
                  <a:lnTo>
                    <a:pt x="953" y="166"/>
                  </a:lnTo>
                  <a:lnTo>
                    <a:pt x="963" y="166"/>
                  </a:lnTo>
                  <a:lnTo>
                    <a:pt x="963" y="166"/>
                  </a:lnTo>
                  <a:lnTo>
                    <a:pt x="973" y="166"/>
                  </a:lnTo>
                  <a:lnTo>
                    <a:pt x="983" y="160"/>
                  </a:lnTo>
                  <a:lnTo>
                    <a:pt x="989" y="152"/>
                  </a:lnTo>
                  <a:lnTo>
                    <a:pt x="991" y="138"/>
                  </a:lnTo>
                  <a:lnTo>
                    <a:pt x="991" y="46"/>
                  </a:lnTo>
                  <a:lnTo>
                    <a:pt x="1033" y="46"/>
                  </a:lnTo>
                  <a:lnTo>
                    <a:pt x="1033" y="196"/>
                  </a:lnTo>
                  <a:close/>
                  <a:moveTo>
                    <a:pt x="1063" y="46"/>
                  </a:moveTo>
                  <a:lnTo>
                    <a:pt x="1105" y="46"/>
                  </a:lnTo>
                  <a:lnTo>
                    <a:pt x="1105" y="74"/>
                  </a:lnTo>
                  <a:lnTo>
                    <a:pt x="1105" y="74"/>
                  </a:lnTo>
                  <a:lnTo>
                    <a:pt x="1113" y="60"/>
                  </a:lnTo>
                  <a:lnTo>
                    <a:pt x="1123" y="52"/>
                  </a:lnTo>
                  <a:lnTo>
                    <a:pt x="1135" y="46"/>
                  </a:lnTo>
                  <a:lnTo>
                    <a:pt x="1149" y="44"/>
                  </a:lnTo>
                  <a:lnTo>
                    <a:pt x="1149" y="86"/>
                  </a:lnTo>
                  <a:lnTo>
                    <a:pt x="1149" y="86"/>
                  </a:lnTo>
                  <a:lnTo>
                    <a:pt x="1131" y="88"/>
                  </a:lnTo>
                  <a:lnTo>
                    <a:pt x="1123" y="90"/>
                  </a:lnTo>
                  <a:lnTo>
                    <a:pt x="1117" y="92"/>
                  </a:lnTo>
                  <a:lnTo>
                    <a:pt x="1111" y="98"/>
                  </a:lnTo>
                  <a:lnTo>
                    <a:pt x="1107" y="104"/>
                  </a:lnTo>
                  <a:lnTo>
                    <a:pt x="1105" y="110"/>
                  </a:lnTo>
                  <a:lnTo>
                    <a:pt x="1105" y="120"/>
                  </a:lnTo>
                  <a:lnTo>
                    <a:pt x="1105" y="196"/>
                  </a:lnTo>
                  <a:lnTo>
                    <a:pt x="1063" y="196"/>
                  </a:lnTo>
                  <a:lnTo>
                    <a:pt x="1063" y="46"/>
                  </a:lnTo>
                  <a:close/>
                  <a:moveTo>
                    <a:pt x="1237" y="200"/>
                  </a:moveTo>
                  <a:lnTo>
                    <a:pt x="1237" y="200"/>
                  </a:lnTo>
                  <a:lnTo>
                    <a:pt x="1221" y="198"/>
                  </a:lnTo>
                  <a:lnTo>
                    <a:pt x="1207" y="194"/>
                  </a:lnTo>
                  <a:lnTo>
                    <a:pt x="1195" y="188"/>
                  </a:lnTo>
                  <a:lnTo>
                    <a:pt x="1183" y="180"/>
                  </a:lnTo>
                  <a:lnTo>
                    <a:pt x="1175" y="170"/>
                  </a:lnTo>
                  <a:lnTo>
                    <a:pt x="1169" y="156"/>
                  </a:lnTo>
                  <a:lnTo>
                    <a:pt x="1165" y="142"/>
                  </a:lnTo>
                  <a:lnTo>
                    <a:pt x="1163" y="124"/>
                  </a:lnTo>
                  <a:lnTo>
                    <a:pt x="1163" y="120"/>
                  </a:lnTo>
                  <a:lnTo>
                    <a:pt x="1163" y="120"/>
                  </a:lnTo>
                  <a:lnTo>
                    <a:pt x="1165" y="102"/>
                  </a:lnTo>
                  <a:lnTo>
                    <a:pt x="1169" y="88"/>
                  </a:lnTo>
                  <a:lnTo>
                    <a:pt x="1175" y="74"/>
                  </a:lnTo>
                  <a:lnTo>
                    <a:pt x="1183" y="62"/>
                  </a:lnTo>
                  <a:lnTo>
                    <a:pt x="1195" y="54"/>
                  </a:lnTo>
                  <a:lnTo>
                    <a:pt x="1207" y="48"/>
                  </a:lnTo>
                  <a:lnTo>
                    <a:pt x="1221" y="44"/>
                  </a:lnTo>
                  <a:lnTo>
                    <a:pt x="1235" y="42"/>
                  </a:lnTo>
                  <a:lnTo>
                    <a:pt x="1235" y="42"/>
                  </a:lnTo>
                  <a:lnTo>
                    <a:pt x="1249" y="44"/>
                  </a:lnTo>
                  <a:lnTo>
                    <a:pt x="1261" y="46"/>
                  </a:lnTo>
                  <a:lnTo>
                    <a:pt x="1273" y="52"/>
                  </a:lnTo>
                  <a:lnTo>
                    <a:pt x="1283" y="60"/>
                  </a:lnTo>
                  <a:lnTo>
                    <a:pt x="1291" y="70"/>
                  </a:lnTo>
                  <a:lnTo>
                    <a:pt x="1299" y="82"/>
                  </a:lnTo>
                  <a:lnTo>
                    <a:pt x="1303" y="96"/>
                  </a:lnTo>
                  <a:lnTo>
                    <a:pt x="1303" y="114"/>
                  </a:lnTo>
                  <a:lnTo>
                    <a:pt x="1303" y="132"/>
                  </a:lnTo>
                  <a:lnTo>
                    <a:pt x="1205" y="132"/>
                  </a:lnTo>
                  <a:lnTo>
                    <a:pt x="1205" y="132"/>
                  </a:lnTo>
                  <a:lnTo>
                    <a:pt x="1209" y="148"/>
                  </a:lnTo>
                  <a:lnTo>
                    <a:pt x="1211" y="156"/>
                  </a:lnTo>
                  <a:lnTo>
                    <a:pt x="1215" y="160"/>
                  </a:lnTo>
                  <a:lnTo>
                    <a:pt x="1219" y="164"/>
                  </a:lnTo>
                  <a:lnTo>
                    <a:pt x="1225" y="168"/>
                  </a:lnTo>
                  <a:lnTo>
                    <a:pt x="1237" y="170"/>
                  </a:lnTo>
                  <a:lnTo>
                    <a:pt x="1237" y="170"/>
                  </a:lnTo>
                  <a:lnTo>
                    <a:pt x="1247" y="168"/>
                  </a:lnTo>
                  <a:lnTo>
                    <a:pt x="1257" y="164"/>
                  </a:lnTo>
                  <a:lnTo>
                    <a:pt x="1261" y="158"/>
                  </a:lnTo>
                  <a:lnTo>
                    <a:pt x="1265" y="150"/>
                  </a:lnTo>
                  <a:lnTo>
                    <a:pt x="1303" y="150"/>
                  </a:lnTo>
                  <a:lnTo>
                    <a:pt x="1303" y="150"/>
                  </a:lnTo>
                  <a:lnTo>
                    <a:pt x="1301" y="160"/>
                  </a:lnTo>
                  <a:lnTo>
                    <a:pt x="1297" y="170"/>
                  </a:lnTo>
                  <a:lnTo>
                    <a:pt x="1291" y="178"/>
                  </a:lnTo>
                  <a:lnTo>
                    <a:pt x="1283" y="186"/>
                  </a:lnTo>
                  <a:lnTo>
                    <a:pt x="1273" y="192"/>
                  </a:lnTo>
                  <a:lnTo>
                    <a:pt x="1263" y="196"/>
                  </a:lnTo>
                  <a:lnTo>
                    <a:pt x="1251" y="198"/>
                  </a:lnTo>
                  <a:lnTo>
                    <a:pt x="1237" y="200"/>
                  </a:lnTo>
                  <a:lnTo>
                    <a:pt x="1237" y="200"/>
                  </a:lnTo>
                  <a:close/>
                  <a:moveTo>
                    <a:pt x="1207" y="104"/>
                  </a:moveTo>
                  <a:lnTo>
                    <a:pt x="1263" y="104"/>
                  </a:lnTo>
                  <a:lnTo>
                    <a:pt x="1263" y="104"/>
                  </a:lnTo>
                  <a:lnTo>
                    <a:pt x="1261" y="90"/>
                  </a:lnTo>
                  <a:lnTo>
                    <a:pt x="1259" y="84"/>
                  </a:lnTo>
                  <a:lnTo>
                    <a:pt x="1255" y="80"/>
                  </a:lnTo>
                  <a:lnTo>
                    <a:pt x="1251" y="76"/>
                  </a:lnTo>
                  <a:lnTo>
                    <a:pt x="1247" y="74"/>
                  </a:lnTo>
                  <a:lnTo>
                    <a:pt x="1235" y="72"/>
                  </a:lnTo>
                  <a:lnTo>
                    <a:pt x="1235" y="72"/>
                  </a:lnTo>
                  <a:lnTo>
                    <a:pt x="1225" y="74"/>
                  </a:lnTo>
                  <a:lnTo>
                    <a:pt x="1217" y="78"/>
                  </a:lnTo>
                  <a:lnTo>
                    <a:pt x="1213" y="82"/>
                  </a:lnTo>
                  <a:lnTo>
                    <a:pt x="1211" y="88"/>
                  </a:lnTo>
                  <a:lnTo>
                    <a:pt x="1207" y="104"/>
                  </a:lnTo>
                  <a:lnTo>
                    <a:pt x="1207" y="10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45417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84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  <p15:guide id="5" orient="horz" pos="360">
          <p15:clr>
            <a:srgbClr val="F26B43"/>
          </p15:clr>
        </p15:guide>
        <p15:guide id="6" orient="horz" pos="2160">
          <p15:clr>
            <a:srgbClr val="F26B43"/>
          </p15:clr>
        </p15:guide>
        <p15:guide id="7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380212" y="6483680"/>
            <a:ext cx="183515" cy="201295"/>
          </a:xfrm>
          <a:custGeom>
            <a:avLst/>
            <a:gdLst/>
            <a:ahLst/>
            <a:cxnLst/>
            <a:rect l="l" t="t" r="r" b="b"/>
            <a:pathLst>
              <a:path w="183515" h="201295">
                <a:moveTo>
                  <a:pt x="0" y="0"/>
                </a:moveTo>
                <a:lnTo>
                  <a:pt x="0" y="52527"/>
                </a:lnTo>
                <a:lnTo>
                  <a:pt x="118452" y="100583"/>
                </a:lnTo>
                <a:lnTo>
                  <a:pt x="0" y="148640"/>
                </a:lnTo>
                <a:lnTo>
                  <a:pt x="0" y="201167"/>
                </a:lnTo>
                <a:lnTo>
                  <a:pt x="183197" y="126822"/>
                </a:lnTo>
                <a:lnTo>
                  <a:pt x="183197" y="74333"/>
                </a:lnTo>
                <a:lnTo>
                  <a:pt x="0" y="0"/>
                </a:lnTo>
                <a:close/>
              </a:path>
            </a:pathLst>
          </a:custGeom>
          <a:solidFill>
            <a:srgbClr val="A000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bg object 17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6319239"/>
            <a:ext cx="12191999" cy="538759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380212" y="6483680"/>
            <a:ext cx="183515" cy="201295"/>
          </a:xfrm>
          <a:custGeom>
            <a:avLst/>
            <a:gdLst/>
            <a:ahLst/>
            <a:cxnLst/>
            <a:rect l="l" t="t" r="r" b="b"/>
            <a:pathLst>
              <a:path w="183515" h="201295">
                <a:moveTo>
                  <a:pt x="0" y="0"/>
                </a:moveTo>
                <a:lnTo>
                  <a:pt x="0" y="52527"/>
                </a:lnTo>
                <a:lnTo>
                  <a:pt x="118452" y="100583"/>
                </a:lnTo>
                <a:lnTo>
                  <a:pt x="0" y="148640"/>
                </a:lnTo>
                <a:lnTo>
                  <a:pt x="0" y="201167"/>
                </a:lnTo>
                <a:lnTo>
                  <a:pt x="183197" y="126822"/>
                </a:lnTo>
                <a:lnTo>
                  <a:pt x="183197" y="7433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68300" y="246075"/>
            <a:ext cx="10958195" cy="10140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87832" y="1670939"/>
            <a:ext cx="11560810" cy="40589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9039606" y="6530182"/>
            <a:ext cx="2404109" cy="1282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800" b="0" i="0">
                <a:solidFill>
                  <a:srgbClr val="E6E6DC"/>
                </a:solidFill>
                <a:latin typeface="Arial MT"/>
                <a:cs typeface="Arial MT"/>
              </a:defRPr>
            </a:lvl1pPr>
          </a:lstStyle>
          <a:p>
            <a:pPr marL="12700">
              <a:lnSpc>
                <a:spcPts val="919"/>
              </a:lnSpc>
            </a:pPr>
            <a:r>
              <a:rPr spc="30" dirty="0"/>
              <a:t>Copyright</a:t>
            </a:r>
            <a:r>
              <a:rPr spc="-10" dirty="0"/>
              <a:t> </a:t>
            </a:r>
            <a:r>
              <a:rPr spc="95" dirty="0"/>
              <a:t>©</a:t>
            </a:r>
            <a:r>
              <a:rPr spc="50" dirty="0"/>
              <a:t> </a:t>
            </a:r>
            <a:r>
              <a:rPr spc="30" dirty="0"/>
              <a:t>2025 Accenture.</a:t>
            </a:r>
            <a:r>
              <a:rPr spc="-5" dirty="0"/>
              <a:t> </a:t>
            </a:r>
            <a:r>
              <a:rPr spc="30" dirty="0"/>
              <a:t>All</a:t>
            </a:r>
            <a:r>
              <a:rPr spc="40" dirty="0"/>
              <a:t> </a:t>
            </a:r>
            <a:r>
              <a:rPr spc="30" dirty="0"/>
              <a:t>rights</a:t>
            </a:r>
            <a:r>
              <a:rPr spc="10" dirty="0"/>
              <a:t> </a:t>
            </a:r>
            <a:r>
              <a:rPr spc="-10" dirty="0"/>
              <a:t>reserved.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3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39728" y="6539881"/>
            <a:ext cx="153670" cy="1276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800" b="0" i="0">
                <a:solidFill>
                  <a:schemeClr val="bg1"/>
                </a:solidFill>
                <a:latin typeface="Arial MT"/>
                <a:cs typeface="Arial MT"/>
              </a:defRPr>
            </a:lvl1pPr>
          </a:lstStyle>
          <a:p>
            <a:pPr marL="38100">
              <a:lnSpc>
                <a:spcPts val="919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48259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9.png"/><Relationship Id="rId7" Type="http://schemas.openxmlformats.org/officeDocument/2006/relationships/image" Target="../media/image32.svg"/><Relationship Id="rId12" Type="http://schemas.openxmlformats.org/officeDocument/2006/relationships/image" Target="../media/image3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hyperlink" Target="https://learning.sap.com/learning-journeys/managing-sap-asset-performance-management/configuring-failure-curve-analytics" TargetMode="External"/><Relationship Id="rId10" Type="http://schemas.openxmlformats.org/officeDocument/2006/relationships/image" Target="../media/image35.png"/><Relationship Id="rId4" Type="http://schemas.openxmlformats.org/officeDocument/2006/relationships/image" Target="../media/image30.svg"/><Relationship Id="rId9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6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6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6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E12FC18-32C4-4C31-95F9-1B65B1F635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716" y="1240971"/>
            <a:ext cx="9021273" cy="3915092"/>
          </a:xfrm>
        </p:spPr>
        <p:txBody>
          <a:bodyPr/>
          <a:lstStyle/>
          <a:p>
            <a:r>
              <a:rPr lang="en-US" dirty="0"/>
              <a:t>Failure Curve Analytics</a:t>
            </a:r>
            <a:br>
              <a:rPr lang="en-US" dirty="0"/>
            </a:br>
            <a:r>
              <a:rPr lang="en-US" dirty="0"/>
              <a:t>SAP AP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8D95FB7-4700-4E03-BBDB-C5FC6AEFC3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AC3EDF-7D22-4BBE-8347-4B8BDA4D5E2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75985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96C519-B382-7A80-EFC3-FD94433403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4C4C9629-7322-ABE8-C413-98812005A753}"/>
              </a:ext>
            </a:extLst>
          </p:cNvPr>
          <p:cNvSpPr/>
          <p:nvPr/>
        </p:nvSpPr>
        <p:spPr>
          <a:xfrm>
            <a:off x="0" y="2005281"/>
            <a:ext cx="838200" cy="3200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6AF19723-3AF3-6C82-1CC1-2FB3CB8ECA8E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Copyright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9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©</a:t>
            </a:r>
            <a:r>
              <a:rPr kumimoji="0" sz="800" b="0" i="0" u="none" strike="noStrike" kern="0" cap="none" spc="5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2025 Accenture.</a:t>
            </a:r>
            <a:r>
              <a:rPr kumimoji="0" sz="800" b="0" i="0" u="none" strike="noStrike" kern="0" cap="none" spc="-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All</a:t>
            </a:r>
            <a:r>
              <a:rPr kumimoji="0" sz="800" b="0" i="0" u="none" strike="noStrike" kern="0" cap="none" spc="4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rights</a:t>
            </a:r>
            <a:r>
              <a:rPr kumimoji="0" sz="800" b="0" i="0" u="none" strike="noStrike" kern="0" cap="none" spc="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reserved.</a:t>
            </a: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1F9777DE-BC8D-5F88-7446-690808373248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algn="l" defTabSz="914400" rtl="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MT"/>
                <a:ea typeface="+mn-ea"/>
              </a:rPr>
              <a:pPr marL="38100" marR="0" lvl="0" indent="0" algn="l" defTabSz="914400" rtl="0" eaLnBrk="1" fontAlgn="auto" latinLnBrk="0" hangingPunct="1">
                <a:lnSpc>
                  <a:spcPts val="9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MT"/>
              <a:ea typeface="+mn-ea"/>
            </a:endParaRPr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7CC1C69B-7F32-EF8F-9A9F-459F2C86D5D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7368" y="59713"/>
            <a:ext cx="10958195" cy="97539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n-US" dirty="0"/>
              <a:t>Where can I visualize Failure Curves Analytic</a:t>
            </a:r>
            <a:r>
              <a:rPr lang="es-AR" spc="55" dirty="0"/>
              <a:t>s?</a:t>
            </a:r>
            <a:br>
              <a:rPr lang="es-AR" spc="55" dirty="0"/>
            </a:br>
            <a:r>
              <a:rPr lang="es-AR" sz="2400" spc="55" dirty="0">
                <a:solidFill>
                  <a:srgbClr val="A055F5"/>
                </a:solidFill>
              </a:rPr>
              <a:t>Step </a:t>
            </a:r>
            <a:r>
              <a:rPr lang="es-AR" sz="2400" spc="55" dirty="0" err="1">
                <a:solidFill>
                  <a:srgbClr val="A055F5"/>
                </a:solidFill>
              </a:rPr>
              <a:t>by</a:t>
            </a:r>
            <a:r>
              <a:rPr lang="es-AR" sz="2400" spc="55" dirty="0">
                <a:solidFill>
                  <a:srgbClr val="A055F5"/>
                </a:solidFill>
              </a:rPr>
              <a:t> Step</a:t>
            </a:r>
            <a:endParaRPr spc="55" dirty="0">
              <a:solidFill>
                <a:srgbClr val="A055F5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FE2D185-784F-10C9-87ED-F918AFEE5556}"/>
              </a:ext>
            </a:extLst>
          </p:cNvPr>
          <p:cNvGrpSpPr/>
          <p:nvPr/>
        </p:nvGrpSpPr>
        <p:grpSpPr>
          <a:xfrm>
            <a:off x="838200" y="1218439"/>
            <a:ext cx="10880044" cy="4774083"/>
            <a:chOff x="838200" y="1218439"/>
            <a:chExt cx="10880044" cy="477408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0368F64-20A8-9B21-D574-306577B835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38200" y="1218439"/>
              <a:ext cx="10880044" cy="4774083"/>
            </a:xfrm>
            <a:prstGeom prst="rect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CCE6309-9D73-7D25-6101-4C810401D322}"/>
                </a:ext>
              </a:extLst>
            </p:cNvPr>
            <p:cNvSpPr/>
            <p:nvPr/>
          </p:nvSpPr>
          <p:spPr>
            <a:xfrm flipH="1" flipV="1">
              <a:off x="3739020" y="2491120"/>
              <a:ext cx="1722327" cy="414917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D9A5FF-062D-C0D2-7B75-68767861346B}"/>
                </a:ext>
              </a:extLst>
            </p:cNvPr>
            <p:cNvSpPr/>
            <p:nvPr/>
          </p:nvSpPr>
          <p:spPr>
            <a:xfrm flipH="1" flipV="1">
              <a:off x="7837119" y="2491119"/>
              <a:ext cx="1722327" cy="414917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33086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16CC47-6634-C688-8391-D13F5E3014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Medium" panose="020B0603030202060203" pitchFamily="34" charset="0"/>
                <a:ea typeface="+mj-ea"/>
                <a:cs typeface="+mj-cs"/>
              </a:rPr>
              <a:t>Failure Curve Analytics</a:t>
            </a:r>
            <a:endParaRPr lang="en-US" dirty="0"/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224B4893-7AA6-FDB5-7FF2-D552B98E44E4}"/>
              </a:ext>
            </a:extLst>
          </p:cNvPr>
          <p:cNvSpPr/>
          <p:nvPr/>
        </p:nvSpPr>
        <p:spPr>
          <a:xfrm>
            <a:off x="3051209" y="873300"/>
            <a:ext cx="5484697" cy="454138"/>
          </a:xfrm>
          <a:prstGeom prst="chevron">
            <a:avLst/>
          </a:prstGeom>
          <a:noFill/>
          <a:ln w="28575" cap="rnd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rPr>
              <a:t>Rul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FB57AE6B-0024-5E35-8403-35158CFCFB66}"/>
              </a:ext>
            </a:extLst>
          </p:cNvPr>
          <p:cNvSpPr/>
          <p:nvPr/>
        </p:nvSpPr>
        <p:spPr>
          <a:xfrm>
            <a:off x="8325529" y="873300"/>
            <a:ext cx="3866470" cy="454138"/>
          </a:xfrm>
          <a:prstGeom prst="chevron">
            <a:avLst/>
          </a:prstGeom>
          <a:noFill/>
          <a:ln w="28575" cap="rnd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rPr>
              <a:t>Monitoring Alert</a:t>
            </a:r>
          </a:p>
        </p:txBody>
      </p:sp>
      <p:pic>
        <p:nvPicPr>
          <p:cNvPr id="92" name="Graphic 91">
            <a:extLst>
              <a:ext uri="{FF2B5EF4-FFF2-40B4-BE49-F238E27FC236}">
                <a16:creationId xmlns:a16="http://schemas.microsoft.com/office/drawing/2014/main" id="{7D8FD868-1680-0633-02C3-3466C9F80212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42531" y="1422400"/>
            <a:ext cx="12640929" cy="5029200"/>
          </a:xfrm>
          <a:prstGeom prst="rect">
            <a:avLst/>
          </a:prstGeom>
        </p:spPr>
      </p:pic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E3954A-476F-DD59-0FED-5FC2C73CD27D}"/>
              </a:ext>
            </a:extLst>
          </p:cNvPr>
          <p:cNvCxnSpPr>
            <a:cxnSpLocks/>
          </p:cNvCxnSpPr>
          <p:nvPr/>
        </p:nvCxnSpPr>
        <p:spPr>
          <a:xfrm rot="5400000">
            <a:off x="5839107" y="3958354"/>
            <a:ext cx="5394960" cy="0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D65DCCA-667C-9CAA-9F6F-4D7DD7E10D04}"/>
              </a:ext>
            </a:extLst>
          </p:cNvPr>
          <p:cNvSpPr/>
          <p:nvPr/>
        </p:nvSpPr>
        <p:spPr>
          <a:xfrm>
            <a:off x="124665" y="3797814"/>
            <a:ext cx="2067185" cy="922148"/>
          </a:xfrm>
          <a:prstGeom prst="roundRect">
            <a:avLst/>
          </a:prstGeom>
          <a:noFill/>
          <a:ln>
            <a:solidFill>
              <a:schemeClr val="accent6">
                <a:lumMod val="9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nfigure </a:t>
            </a:r>
            <a:r>
              <a:rPr kumimoji="0" lang="es-A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ailure</a:t>
            </a: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Curve </a:t>
            </a:r>
            <a:r>
              <a:rPr kumimoji="0" lang="es-A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nalytics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460073">
                  <a:lumMod val="40000"/>
                  <a:lumOff val="6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4BA1825F-0F16-5C34-EC3B-7BD2F64DE24D}"/>
              </a:ext>
            </a:extLst>
          </p:cNvPr>
          <p:cNvSpPr/>
          <p:nvPr/>
        </p:nvSpPr>
        <p:spPr>
          <a:xfrm>
            <a:off x="4066447" y="4307957"/>
            <a:ext cx="2120737" cy="479039"/>
          </a:xfrm>
          <a:prstGeom prst="roundRect">
            <a:avLst/>
          </a:prstGeom>
          <a:noFill/>
          <a:ln>
            <a:solidFill>
              <a:schemeClr val="accent6">
                <a:lumMod val="9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reate</a:t>
            </a: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es-A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oup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460073">
                  <a:lumMod val="40000"/>
                  <a:lumOff val="6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7779AFDD-6B21-A602-6E01-5A7190748402}"/>
              </a:ext>
            </a:extLst>
          </p:cNvPr>
          <p:cNvSpPr/>
          <p:nvPr/>
        </p:nvSpPr>
        <p:spPr>
          <a:xfrm>
            <a:off x="9329457" y="75786"/>
            <a:ext cx="2449019" cy="782598"/>
          </a:xfrm>
          <a:prstGeom prst="roundRect">
            <a:avLst/>
          </a:prstGeom>
          <a:noFill/>
          <a:ln>
            <a:solidFill>
              <a:schemeClr val="accent6">
                <a:lumMod val="9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 err="1">
                <a:hlinkClick r:id="rId5"/>
              </a:rPr>
              <a:t>Configuring</a:t>
            </a:r>
            <a:r>
              <a:rPr lang="es-ES" dirty="0">
                <a:hlinkClick r:id="rId5"/>
              </a:rPr>
              <a:t> </a:t>
            </a:r>
            <a:r>
              <a:rPr lang="es-ES" dirty="0" err="1">
                <a:hlinkClick r:id="rId5"/>
              </a:rPr>
              <a:t>Failure</a:t>
            </a:r>
            <a:r>
              <a:rPr lang="es-ES" dirty="0">
                <a:hlinkClick r:id="rId5"/>
              </a:rPr>
              <a:t> Curve </a:t>
            </a:r>
            <a:r>
              <a:rPr lang="es-ES" dirty="0" err="1">
                <a:hlinkClick r:id="rId5"/>
              </a:rPr>
              <a:t>Analytics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460073">
                  <a:lumMod val="40000"/>
                  <a:lumOff val="6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923453A4-DE20-A6E7-8D44-B17234130FBE}"/>
              </a:ext>
            </a:extLst>
          </p:cNvPr>
          <p:cNvSpPr/>
          <p:nvPr/>
        </p:nvSpPr>
        <p:spPr>
          <a:xfrm>
            <a:off x="5469517" y="5230900"/>
            <a:ext cx="1820720" cy="672983"/>
          </a:xfrm>
          <a:prstGeom prst="roundRect">
            <a:avLst/>
          </a:prstGeom>
          <a:noFill/>
          <a:ln>
            <a:solidFill>
              <a:schemeClr val="accent6">
                <a:lumMod val="9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rain and Score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460073">
                  <a:lumMod val="40000"/>
                  <a:lumOff val="6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0147F162-94EF-CFBC-C502-53922132D21F}"/>
              </a:ext>
            </a:extLst>
          </p:cNvPr>
          <p:cNvSpPr/>
          <p:nvPr/>
        </p:nvSpPr>
        <p:spPr>
          <a:xfrm>
            <a:off x="9139416" y="1886798"/>
            <a:ext cx="2120737" cy="1026490"/>
          </a:xfrm>
          <a:prstGeom prst="roundRect">
            <a:avLst/>
          </a:prstGeom>
          <a:noFill/>
          <a:ln>
            <a:solidFill>
              <a:schemeClr val="accent6">
                <a:lumMod val="9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Visualize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460073">
                  <a:lumMod val="40000"/>
                  <a:lumOff val="6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es-A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ailure</a:t>
            </a: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Curves </a:t>
            </a:r>
            <a:r>
              <a:rPr kumimoji="0" lang="es-A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nalytics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460073">
                  <a:lumMod val="40000"/>
                  <a:lumOff val="6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pic>
        <p:nvPicPr>
          <p:cNvPr id="11" name="Graphic 10" descr="Presentation with media with solid fill">
            <a:extLst>
              <a:ext uri="{FF2B5EF4-FFF2-40B4-BE49-F238E27FC236}">
                <a16:creationId xmlns:a16="http://schemas.microsoft.com/office/drawing/2014/main" id="{4D9CAD75-A3B8-D08C-2913-CAFDB73EAB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06693" y="9885"/>
            <a:ext cx="914400" cy="914400"/>
          </a:xfrm>
          <a:prstGeom prst="rect">
            <a:avLst/>
          </a:prstGeom>
        </p:spPr>
      </p:pic>
      <p:sp>
        <p:nvSpPr>
          <p:cNvPr id="25" name="Arrow: Pentagon 24">
            <a:extLst>
              <a:ext uri="{FF2B5EF4-FFF2-40B4-BE49-F238E27FC236}">
                <a16:creationId xmlns:a16="http://schemas.microsoft.com/office/drawing/2014/main" id="{275267E4-6786-5DF6-1AB5-1A63D0502B91}"/>
              </a:ext>
            </a:extLst>
          </p:cNvPr>
          <p:cNvSpPr>
            <a:spLocks/>
          </p:cNvSpPr>
          <p:nvPr/>
        </p:nvSpPr>
        <p:spPr>
          <a:xfrm>
            <a:off x="20619" y="1066459"/>
            <a:ext cx="12150761" cy="411170"/>
          </a:xfrm>
          <a:prstGeom prst="homePlate">
            <a:avLst/>
          </a:prstGeom>
          <a:gradFill flip="none" rotWithShape="1">
            <a:gsLst>
              <a:gs pos="49698">
                <a:schemeClr val="accent4"/>
              </a:gs>
              <a:gs pos="0">
                <a:srgbClr val="FE7800"/>
              </a:gs>
              <a:gs pos="100000">
                <a:schemeClr val="accent5">
                  <a:lumMod val="50000"/>
                </a:schemeClr>
              </a:gs>
            </a:gsLst>
            <a:lin ang="0" scaled="1"/>
            <a:tileRect/>
          </a:gradFill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6" name="Arrow: Pentagon 25">
            <a:extLst>
              <a:ext uri="{FF2B5EF4-FFF2-40B4-BE49-F238E27FC236}">
                <a16:creationId xmlns:a16="http://schemas.microsoft.com/office/drawing/2014/main" id="{9B8FE67B-A854-1B2E-7FB5-245E038D18D9}"/>
              </a:ext>
            </a:extLst>
          </p:cNvPr>
          <p:cNvSpPr/>
          <p:nvPr/>
        </p:nvSpPr>
        <p:spPr>
          <a:xfrm>
            <a:off x="-110194" y="1025700"/>
            <a:ext cx="8765669" cy="462810"/>
          </a:xfrm>
          <a:prstGeom prst="homePlate">
            <a:avLst/>
          </a:prstGeom>
          <a:noFill/>
          <a:ln w="28575" cap="rnd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rPr>
              <a:t>Configure Failure Curve Analytic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556C8F5-C898-BB3B-2525-1BDBE49B0895}"/>
              </a:ext>
            </a:extLst>
          </p:cNvPr>
          <p:cNvCxnSpPr>
            <a:cxnSpLocks/>
          </p:cNvCxnSpPr>
          <p:nvPr/>
        </p:nvCxnSpPr>
        <p:spPr>
          <a:xfrm rot="5400000">
            <a:off x="-142415" y="4217156"/>
            <a:ext cx="5394960" cy="0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55408F6C-30E6-5059-490E-08B6BEE3D92D}"/>
              </a:ext>
            </a:extLst>
          </p:cNvPr>
          <p:cNvSpPr/>
          <p:nvPr/>
        </p:nvSpPr>
        <p:spPr>
          <a:xfrm>
            <a:off x="2842341" y="1813120"/>
            <a:ext cx="2120737" cy="770082"/>
          </a:xfrm>
          <a:prstGeom prst="roundRect">
            <a:avLst/>
          </a:prstGeom>
          <a:noFill/>
          <a:ln>
            <a:solidFill>
              <a:schemeClr val="accent6">
                <a:lumMod val="9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reate</a:t>
            </a: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es-A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Model</a:t>
            </a: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kumimoji="0" lang="es-A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60073">
                    <a:lumMod val="40000"/>
                    <a:lumOff val="6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rainning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460073">
                  <a:lumMod val="40000"/>
                  <a:lumOff val="6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8" name="Arrow: Chevron 67">
            <a:extLst>
              <a:ext uri="{FF2B5EF4-FFF2-40B4-BE49-F238E27FC236}">
                <a16:creationId xmlns:a16="http://schemas.microsoft.com/office/drawing/2014/main" id="{715E1E5D-45FE-2352-B17F-CD9620451D37}"/>
              </a:ext>
            </a:extLst>
          </p:cNvPr>
          <p:cNvSpPr/>
          <p:nvPr/>
        </p:nvSpPr>
        <p:spPr>
          <a:xfrm>
            <a:off x="8409472" y="1024409"/>
            <a:ext cx="3761908" cy="469012"/>
          </a:xfrm>
          <a:prstGeom prst="chevron">
            <a:avLst/>
          </a:prstGeom>
          <a:noFill/>
          <a:ln w="28575" cap="rnd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rPr>
              <a:t>Explore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rPr>
              <a:t>Techinca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rPr>
              <a:t> Object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BCF4443-7B87-980C-6A34-6DD0221BF6E3}"/>
              </a:ext>
            </a:extLst>
          </p:cNvPr>
          <p:cNvGrpSpPr/>
          <p:nvPr/>
        </p:nvGrpSpPr>
        <p:grpSpPr>
          <a:xfrm>
            <a:off x="497375" y="4837497"/>
            <a:ext cx="1097280" cy="1097280"/>
            <a:chOff x="497375" y="4837497"/>
            <a:chExt cx="1097280" cy="1097280"/>
          </a:xfrm>
        </p:grpSpPr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1FA74A7C-D462-14DD-EE73-7EF204A31C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7375" y="4837497"/>
              <a:ext cx="1097280" cy="1097280"/>
            </a:xfrm>
            <a:prstGeom prst="ellipse">
              <a:avLst/>
            </a:prstGeom>
            <a:solidFill>
              <a:schemeClr val="accent5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Medium" panose="020B06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7D083D52-62C9-BCD0-FB6D-6EB557020A1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04185" y="5017294"/>
              <a:ext cx="700156" cy="700156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2DE8EA2-34EE-A14C-5D1E-29BA976FD4E5}"/>
              </a:ext>
            </a:extLst>
          </p:cNvPr>
          <p:cNvGrpSpPr/>
          <p:nvPr/>
        </p:nvGrpSpPr>
        <p:grpSpPr>
          <a:xfrm>
            <a:off x="1971182" y="5021078"/>
            <a:ext cx="1097280" cy="1097280"/>
            <a:chOff x="2879720" y="4180924"/>
            <a:chExt cx="1097280" cy="109728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78FC0A23-5023-CBB9-C272-02F84F452EA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79720" y="4180924"/>
              <a:ext cx="1097280" cy="1097280"/>
            </a:xfrm>
            <a:prstGeom prst="ellipse">
              <a:avLst/>
            </a:prstGeom>
            <a:solidFill>
              <a:schemeClr val="accent5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Medium" panose="020B06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BAC7988-F2F7-44B7-4DCE-294D53C3F0D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095884" y="4374532"/>
              <a:ext cx="690860" cy="690860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D27F5C4-E82E-D037-24C5-3A04230A2773}"/>
              </a:ext>
            </a:extLst>
          </p:cNvPr>
          <p:cNvGrpSpPr/>
          <p:nvPr/>
        </p:nvGrpSpPr>
        <p:grpSpPr>
          <a:xfrm>
            <a:off x="5247781" y="1710352"/>
            <a:ext cx="1097280" cy="1097280"/>
            <a:chOff x="4891658" y="2514225"/>
            <a:chExt cx="1097280" cy="1097280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66B5F574-8452-139E-46A4-FC80CF4848E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91658" y="2514225"/>
              <a:ext cx="1097280" cy="1097280"/>
            </a:xfrm>
            <a:prstGeom prst="ellipse">
              <a:avLst/>
            </a:prstGeom>
            <a:solidFill>
              <a:schemeClr val="accent5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Medium" panose="020B06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8EDFF00-59BD-28CB-37DC-7C731FC9A6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102715" y="2675297"/>
              <a:ext cx="753792" cy="753792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76620E7-46D0-87C3-28EE-4CCB57E310D2}"/>
              </a:ext>
            </a:extLst>
          </p:cNvPr>
          <p:cNvGrpSpPr/>
          <p:nvPr/>
        </p:nvGrpSpPr>
        <p:grpSpPr>
          <a:xfrm>
            <a:off x="7192082" y="4258888"/>
            <a:ext cx="1097280" cy="1097280"/>
            <a:chOff x="7076106" y="4531813"/>
            <a:chExt cx="1097280" cy="1097280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61643EAD-B1A5-BF3A-8BBF-7B5723F560A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76106" y="4531813"/>
              <a:ext cx="1097280" cy="1097280"/>
            </a:xfrm>
            <a:prstGeom prst="ellipse">
              <a:avLst/>
            </a:prstGeom>
            <a:solidFill>
              <a:schemeClr val="accent5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Medium" panose="020B06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95462709-7D30-5E07-0FC4-19AE8B77BA6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292641" y="4694389"/>
              <a:ext cx="672983" cy="672983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12A10A4-CECC-517A-7396-054557BF442C}"/>
              </a:ext>
            </a:extLst>
          </p:cNvPr>
          <p:cNvGrpSpPr/>
          <p:nvPr/>
        </p:nvGrpSpPr>
        <p:grpSpPr>
          <a:xfrm>
            <a:off x="9348793" y="3548325"/>
            <a:ext cx="1097280" cy="1097280"/>
            <a:chOff x="9348793" y="3548325"/>
            <a:chExt cx="1097280" cy="1097280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06BB3D82-362B-21F1-BF16-74D66B491F2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48793" y="3548325"/>
              <a:ext cx="1097280" cy="1097280"/>
            </a:xfrm>
            <a:prstGeom prst="ellipse">
              <a:avLst/>
            </a:prstGeom>
            <a:solidFill>
              <a:schemeClr val="accent5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Medium" panose="020B0603030202060203" pitchFamily="34" charset="0"/>
                <a:ea typeface="+mn-ea"/>
                <a:cs typeface="+mn-cs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4465D088-FF28-D6CE-AFED-36FD797A76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574578" y="3739041"/>
              <a:ext cx="715848" cy="7158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47016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958EF1-B2C1-59B7-6F66-E52FADA09D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5A51BDE6-FE14-F59B-3851-0137B06DA8E6}"/>
              </a:ext>
            </a:extLst>
          </p:cNvPr>
          <p:cNvSpPr/>
          <p:nvPr/>
        </p:nvSpPr>
        <p:spPr>
          <a:xfrm>
            <a:off x="0" y="2361156"/>
            <a:ext cx="1676400" cy="3200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C9F30193-EA54-B6AD-7245-F626F070812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93602" y="199548"/>
            <a:ext cx="10958195" cy="97539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s-AR" spc="55" dirty="0" err="1"/>
              <a:t>How</a:t>
            </a:r>
            <a:r>
              <a:rPr lang="es-AR" spc="55" dirty="0"/>
              <a:t> </a:t>
            </a:r>
            <a:r>
              <a:rPr lang="es-AR" spc="55" dirty="0" err="1"/>
              <a:t>to</a:t>
            </a:r>
            <a:r>
              <a:rPr lang="es-AR" spc="55" dirty="0"/>
              <a:t> </a:t>
            </a:r>
            <a:r>
              <a:rPr lang="es-AR" spc="55" dirty="0" err="1"/>
              <a:t>create</a:t>
            </a:r>
            <a:r>
              <a:rPr lang="es-AR" spc="55" dirty="0"/>
              <a:t> a </a:t>
            </a:r>
            <a:r>
              <a:rPr lang="es-AR" spc="55" dirty="0" err="1"/>
              <a:t>Failure</a:t>
            </a:r>
            <a:r>
              <a:rPr lang="es-AR" spc="55" dirty="0"/>
              <a:t> Curve </a:t>
            </a:r>
            <a:r>
              <a:rPr lang="es-AR" spc="55" dirty="0" err="1"/>
              <a:t>Analytics</a:t>
            </a:r>
            <a:r>
              <a:rPr lang="es-AR" spc="55" dirty="0"/>
              <a:t>? </a:t>
            </a:r>
            <a:br>
              <a:rPr lang="es-AR" spc="55" dirty="0"/>
            </a:br>
            <a:r>
              <a:rPr lang="es-AR" sz="2400" spc="55" dirty="0">
                <a:solidFill>
                  <a:srgbClr val="A055F5"/>
                </a:solidFill>
              </a:rPr>
              <a:t>Step </a:t>
            </a:r>
            <a:r>
              <a:rPr lang="es-AR" sz="2400" spc="55" dirty="0" err="1">
                <a:solidFill>
                  <a:srgbClr val="A055F5"/>
                </a:solidFill>
              </a:rPr>
              <a:t>by</a:t>
            </a:r>
            <a:r>
              <a:rPr lang="es-AR" sz="2400" spc="55" dirty="0">
                <a:solidFill>
                  <a:srgbClr val="A055F5"/>
                </a:solidFill>
              </a:rPr>
              <a:t> Step</a:t>
            </a:r>
            <a:endParaRPr spc="55" dirty="0">
              <a:solidFill>
                <a:srgbClr val="A055F5"/>
              </a:solidFill>
            </a:endParaRP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BABF619D-17BC-B0F9-6275-996B90D59640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Copyright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9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©</a:t>
            </a:r>
            <a:r>
              <a:rPr kumimoji="0" sz="800" b="0" i="0" u="none" strike="noStrike" kern="0" cap="none" spc="5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2025 Accenture.</a:t>
            </a:r>
            <a:r>
              <a:rPr kumimoji="0" sz="800" b="0" i="0" u="none" strike="noStrike" kern="0" cap="none" spc="-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All</a:t>
            </a:r>
            <a:r>
              <a:rPr kumimoji="0" sz="800" b="0" i="0" u="none" strike="noStrike" kern="0" cap="none" spc="4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rights</a:t>
            </a:r>
            <a:r>
              <a:rPr kumimoji="0" sz="800" b="0" i="0" u="none" strike="noStrike" kern="0" cap="none" spc="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reserved.</a:t>
            </a: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B5BF36F2-8671-DBE1-01D1-8A48ECDC6F8C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algn="l" defTabSz="914400" rtl="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MT"/>
                <a:ea typeface="+mn-ea"/>
              </a:rPr>
              <a:pPr marL="38100" marR="0" lvl="0" indent="0" algn="l" defTabSz="914400" rtl="0" eaLnBrk="1" fontAlgn="auto" latinLnBrk="0" hangingPunct="1">
                <a:lnSpc>
                  <a:spcPts val="9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MT"/>
              <a:ea typeface="+mn-ea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AA41BBF-F575-F428-B939-D970D21ED218}"/>
              </a:ext>
            </a:extLst>
          </p:cNvPr>
          <p:cNvGrpSpPr/>
          <p:nvPr/>
        </p:nvGrpSpPr>
        <p:grpSpPr>
          <a:xfrm>
            <a:off x="193602" y="1563023"/>
            <a:ext cx="8436831" cy="1947712"/>
            <a:chOff x="193602" y="1563023"/>
            <a:chExt cx="8436831" cy="194771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67451F2-2E0D-5781-D007-429DCB4C5C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93602" y="1563023"/>
              <a:ext cx="8436831" cy="1947712"/>
            </a:xfrm>
            <a:prstGeom prst="rect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CB8D978-ABAB-5D58-EE85-A36AB04D8976}"/>
                </a:ext>
              </a:extLst>
            </p:cNvPr>
            <p:cNvSpPr/>
            <p:nvPr/>
          </p:nvSpPr>
          <p:spPr>
            <a:xfrm flipH="1" flipV="1">
              <a:off x="1870001" y="1989665"/>
              <a:ext cx="1531607" cy="1380067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9A82F5D-AE3C-B968-78DA-5C85AE2294A2}"/>
              </a:ext>
            </a:extLst>
          </p:cNvPr>
          <p:cNvGrpSpPr/>
          <p:nvPr/>
        </p:nvGrpSpPr>
        <p:grpSpPr>
          <a:xfrm>
            <a:off x="193602" y="3673412"/>
            <a:ext cx="10940174" cy="2462217"/>
            <a:chOff x="193602" y="3673412"/>
            <a:chExt cx="10940174" cy="2462217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1FAD05A-54FE-A549-E8CF-72E8865199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r="3471"/>
            <a:stretch/>
          </p:blipFill>
          <p:spPr>
            <a:xfrm>
              <a:off x="193602" y="3673412"/>
              <a:ext cx="10940174" cy="2462217"/>
            </a:xfrm>
            <a:prstGeom prst="rect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89CD73B-0C6E-A51B-5EB1-053720AB7F5A}"/>
                </a:ext>
              </a:extLst>
            </p:cNvPr>
            <p:cNvSpPr/>
            <p:nvPr/>
          </p:nvSpPr>
          <p:spPr>
            <a:xfrm flipH="1" flipV="1">
              <a:off x="8755692" y="4020854"/>
              <a:ext cx="1188919" cy="352962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23350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32CEF8-B357-6D15-3FE0-958F62CEA3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bject 22">
            <a:extLst>
              <a:ext uri="{FF2B5EF4-FFF2-40B4-BE49-F238E27FC236}">
                <a16:creationId xmlns:a16="http://schemas.microsoft.com/office/drawing/2014/main" id="{93C6D3FD-3C3A-3E48-9BDB-540CC9EAE09A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Copyright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9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©</a:t>
            </a:r>
            <a:r>
              <a:rPr kumimoji="0" sz="800" b="0" i="0" u="none" strike="noStrike" kern="0" cap="none" spc="5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2025 Accenture.</a:t>
            </a:r>
            <a:r>
              <a:rPr kumimoji="0" sz="800" b="0" i="0" u="none" strike="noStrike" kern="0" cap="none" spc="-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All</a:t>
            </a:r>
            <a:r>
              <a:rPr kumimoji="0" sz="800" b="0" i="0" u="none" strike="noStrike" kern="0" cap="none" spc="4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rights</a:t>
            </a:r>
            <a:r>
              <a:rPr kumimoji="0" sz="800" b="0" i="0" u="none" strike="noStrike" kern="0" cap="none" spc="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reserved.</a:t>
            </a: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27E605CE-F2BB-D6EF-BF79-DC8C3B59FB19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algn="l" defTabSz="914400" rtl="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MT"/>
                <a:ea typeface="+mn-ea"/>
              </a:rPr>
              <a:pPr marL="38100" marR="0" lvl="0" indent="0" algn="l" defTabSz="914400" rtl="0" eaLnBrk="1" fontAlgn="auto" latinLnBrk="0" hangingPunct="1">
                <a:lnSpc>
                  <a:spcPts val="9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MT"/>
              <a:ea typeface="+mn-ea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4764EB0-E4AA-C436-B701-10794624F241}"/>
              </a:ext>
            </a:extLst>
          </p:cNvPr>
          <p:cNvSpPr/>
          <p:nvPr/>
        </p:nvSpPr>
        <p:spPr>
          <a:xfrm>
            <a:off x="0" y="2361156"/>
            <a:ext cx="1676400" cy="3200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6A3F8A56-E3DF-72D5-3BA0-F9E7E5D2400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7368" y="59713"/>
            <a:ext cx="10958195" cy="97539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s-AR" spc="55" dirty="0" err="1"/>
              <a:t>How</a:t>
            </a:r>
            <a:r>
              <a:rPr lang="es-AR" spc="55" dirty="0"/>
              <a:t> </a:t>
            </a:r>
            <a:r>
              <a:rPr lang="es-AR" spc="55" dirty="0" err="1"/>
              <a:t>to</a:t>
            </a:r>
            <a:r>
              <a:rPr lang="es-AR" spc="55" dirty="0"/>
              <a:t> </a:t>
            </a:r>
            <a:r>
              <a:rPr lang="es-AR" spc="55" dirty="0" err="1"/>
              <a:t>create</a:t>
            </a:r>
            <a:r>
              <a:rPr lang="es-AR" spc="55" dirty="0"/>
              <a:t> a </a:t>
            </a:r>
            <a:r>
              <a:rPr lang="es-AR" spc="55" dirty="0" err="1"/>
              <a:t>Model</a:t>
            </a:r>
            <a:r>
              <a:rPr lang="es-AR" spc="55" dirty="0"/>
              <a:t> and </a:t>
            </a:r>
            <a:r>
              <a:rPr lang="es-AR" spc="55" dirty="0" err="1"/>
              <a:t>Group</a:t>
            </a:r>
            <a:r>
              <a:rPr lang="es-AR" spc="55" dirty="0"/>
              <a:t>? </a:t>
            </a:r>
            <a:br>
              <a:rPr lang="es-AR" spc="55" dirty="0"/>
            </a:br>
            <a:r>
              <a:rPr lang="es-AR" sz="2400" spc="55" dirty="0">
                <a:solidFill>
                  <a:srgbClr val="A055F5"/>
                </a:solidFill>
              </a:rPr>
              <a:t>Step </a:t>
            </a:r>
            <a:r>
              <a:rPr lang="es-AR" sz="2400" spc="55" dirty="0" err="1">
                <a:solidFill>
                  <a:srgbClr val="A055F5"/>
                </a:solidFill>
              </a:rPr>
              <a:t>by</a:t>
            </a:r>
            <a:r>
              <a:rPr lang="es-AR" sz="2400" spc="55" dirty="0">
                <a:solidFill>
                  <a:srgbClr val="A055F5"/>
                </a:solidFill>
              </a:rPr>
              <a:t> Step</a:t>
            </a:r>
            <a:endParaRPr spc="55" dirty="0">
              <a:solidFill>
                <a:srgbClr val="A055F5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1F8E89F-F948-D2CD-2C10-7D4EF877DA0F}"/>
              </a:ext>
            </a:extLst>
          </p:cNvPr>
          <p:cNvGrpSpPr/>
          <p:nvPr/>
        </p:nvGrpSpPr>
        <p:grpSpPr>
          <a:xfrm>
            <a:off x="391828" y="1495101"/>
            <a:ext cx="6196861" cy="2459992"/>
            <a:chOff x="391828" y="1495101"/>
            <a:chExt cx="6196861" cy="2459992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0E3FB81-3B11-A4FE-A3F9-489AFE0039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91828" y="1495101"/>
              <a:ext cx="6196861" cy="2459992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C8EAD77-D92B-F580-4173-699E14A4BC37}"/>
                </a:ext>
              </a:extLst>
            </p:cNvPr>
            <p:cNvSpPr/>
            <p:nvPr/>
          </p:nvSpPr>
          <p:spPr>
            <a:xfrm flipH="1" flipV="1">
              <a:off x="5219155" y="2636197"/>
              <a:ext cx="1188919" cy="352962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5EFCD5B5-8869-16DF-0D7F-B5A78872BB65}"/>
              </a:ext>
            </a:extLst>
          </p:cNvPr>
          <p:cNvGrpSpPr/>
          <p:nvPr/>
        </p:nvGrpSpPr>
        <p:grpSpPr>
          <a:xfrm>
            <a:off x="6024355" y="3868842"/>
            <a:ext cx="6030502" cy="2311358"/>
            <a:chOff x="5915806" y="3955093"/>
            <a:chExt cx="6030502" cy="231135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2AE9B623-6A38-7D6B-5665-E16C61B5448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915806" y="3955093"/>
              <a:ext cx="6030502" cy="2311358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39723B0-C6A5-09C6-0E93-1679BF78A1E8}"/>
                </a:ext>
              </a:extLst>
            </p:cNvPr>
            <p:cNvSpPr/>
            <p:nvPr/>
          </p:nvSpPr>
          <p:spPr>
            <a:xfrm flipH="1" flipV="1">
              <a:off x="10241660" y="5868874"/>
              <a:ext cx="1188919" cy="352962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48211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A97064-527C-B241-6A01-5D294777C5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1695A302-8221-F274-87B4-CD8001B5C383}"/>
              </a:ext>
            </a:extLst>
          </p:cNvPr>
          <p:cNvSpPr/>
          <p:nvPr/>
        </p:nvSpPr>
        <p:spPr>
          <a:xfrm>
            <a:off x="-838200" y="2005281"/>
            <a:ext cx="1676400" cy="3200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1B00680B-BF27-4C19-F37A-C7656AFAD086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Copyright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9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©</a:t>
            </a:r>
            <a:r>
              <a:rPr kumimoji="0" sz="800" b="0" i="0" u="none" strike="noStrike" kern="0" cap="none" spc="5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2025 Accenture.</a:t>
            </a:r>
            <a:r>
              <a:rPr kumimoji="0" sz="800" b="0" i="0" u="none" strike="noStrike" kern="0" cap="none" spc="-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All</a:t>
            </a:r>
            <a:r>
              <a:rPr kumimoji="0" sz="800" b="0" i="0" u="none" strike="noStrike" kern="0" cap="none" spc="4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rights</a:t>
            </a:r>
            <a:r>
              <a:rPr kumimoji="0" sz="800" b="0" i="0" u="none" strike="noStrike" kern="0" cap="none" spc="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reserved.</a:t>
            </a: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9B6150FF-3195-5E50-C8A7-C03BE6F862D2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algn="l" defTabSz="914400" rtl="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MT"/>
                <a:ea typeface="+mn-ea"/>
              </a:rPr>
              <a:pPr marL="38100" marR="0" lvl="0" indent="0" algn="l" defTabSz="914400" rtl="0" eaLnBrk="1" fontAlgn="auto" latinLnBrk="0" hangingPunct="1">
                <a:lnSpc>
                  <a:spcPts val="9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MT"/>
              <a:ea typeface="+mn-ea"/>
            </a:endParaRPr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80D43920-3FCC-B218-271B-B9A5E1A865B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7368" y="59713"/>
            <a:ext cx="10958195" cy="97539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s-AR" spc="55" dirty="0" err="1"/>
              <a:t>How</a:t>
            </a:r>
            <a:r>
              <a:rPr lang="es-AR" spc="55" dirty="0"/>
              <a:t> </a:t>
            </a:r>
            <a:r>
              <a:rPr lang="es-AR" spc="55" dirty="0" err="1"/>
              <a:t>to</a:t>
            </a:r>
            <a:r>
              <a:rPr lang="es-AR" spc="55" dirty="0"/>
              <a:t> </a:t>
            </a:r>
            <a:r>
              <a:rPr lang="es-AR" spc="55" dirty="0" err="1"/>
              <a:t>create</a:t>
            </a:r>
            <a:r>
              <a:rPr lang="es-AR" spc="55" dirty="0"/>
              <a:t> a </a:t>
            </a:r>
            <a:r>
              <a:rPr lang="es-AR" spc="55" dirty="0" err="1"/>
              <a:t>Group</a:t>
            </a:r>
            <a:r>
              <a:rPr lang="es-AR" spc="55" dirty="0"/>
              <a:t>? </a:t>
            </a:r>
            <a:br>
              <a:rPr lang="es-AR" spc="55" dirty="0"/>
            </a:br>
            <a:r>
              <a:rPr lang="es-AR" sz="2400" spc="55" dirty="0">
                <a:solidFill>
                  <a:srgbClr val="A055F5"/>
                </a:solidFill>
              </a:rPr>
              <a:t>Step </a:t>
            </a:r>
            <a:r>
              <a:rPr lang="es-AR" sz="2400" spc="55" dirty="0" err="1">
                <a:solidFill>
                  <a:srgbClr val="A055F5"/>
                </a:solidFill>
              </a:rPr>
              <a:t>by</a:t>
            </a:r>
            <a:r>
              <a:rPr lang="es-AR" sz="2400" spc="55" dirty="0">
                <a:solidFill>
                  <a:srgbClr val="A055F5"/>
                </a:solidFill>
              </a:rPr>
              <a:t> Step</a:t>
            </a:r>
            <a:endParaRPr spc="55" dirty="0">
              <a:solidFill>
                <a:srgbClr val="A055F5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5A518AA-B2EC-6F42-D830-9147526DCD62}"/>
              </a:ext>
            </a:extLst>
          </p:cNvPr>
          <p:cNvGrpSpPr/>
          <p:nvPr/>
        </p:nvGrpSpPr>
        <p:grpSpPr>
          <a:xfrm>
            <a:off x="1214141" y="1336255"/>
            <a:ext cx="9084647" cy="4550354"/>
            <a:chOff x="1214141" y="1336255"/>
            <a:chExt cx="9084647" cy="4550354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3B1B988D-54FB-90DE-0056-FE64F2657F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14141" y="1336255"/>
              <a:ext cx="9084647" cy="4550354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A7A397E-7E10-F564-0040-0C0027201C8D}"/>
                </a:ext>
              </a:extLst>
            </p:cNvPr>
            <p:cNvSpPr/>
            <p:nvPr/>
          </p:nvSpPr>
          <p:spPr>
            <a:xfrm flipH="1" flipV="1">
              <a:off x="1298751" y="3076038"/>
              <a:ext cx="8822278" cy="518932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94B830D-B7B5-3121-CEAB-CE5715B11736}"/>
                </a:ext>
              </a:extLst>
            </p:cNvPr>
            <p:cNvSpPr/>
            <p:nvPr/>
          </p:nvSpPr>
          <p:spPr>
            <a:xfrm flipH="1" flipV="1">
              <a:off x="9457150" y="5533647"/>
              <a:ext cx="463462" cy="352962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238597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-24221" y="6289253"/>
            <a:ext cx="12324780" cy="568745"/>
            <a:chOff x="0" y="6319239"/>
            <a:chExt cx="12192000" cy="53911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6319239"/>
              <a:ext cx="12191999" cy="538759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380212" y="6483680"/>
              <a:ext cx="183515" cy="201295"/>
            </a:xfrm>
            <a:custGeom>
              <a:avLst/>
              <a:gdLst/>
              <a:ahLst/>
              <a:cxnLst/>
              <a:rect l="l" t="t" r="r" b="b"/>
              <a:pathLst>
                <a:path w="183515" h="201295">
                  <a:moveTo>
                    <a:pt x="0" y="0"/>
                  </a:moveTo>
                  <a:lnTo>
                    <a:pt x="0" y="52527"/>
                  </a:lnTo>
                  <a:lnTo>
                    <a:pt x="118452" y="100583"/>
                  </a:lnTo>
                  <a:lnTo>
                    <a:pt x="0" y="148640"/>
                  </a:lnTo>
                  <a:lnTo>
                    <a:pt x="0" y="201167"/>
                  </a:lnTo>
                  <a:lnTo>
                    <a:pt x="183197" y="126822"/>
                  </a:lnTo>
                  <a:lnTo>
                    <a:pt x="183197" y="743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title"/>
          </p:nvPr>
        </p:nvSpPr>
        <p:spPr>
          <a:xfrm>
            <a:off x="368300" y="246075"/>
            <a:ext cx="10958195" cy="56874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s-AR" dirty="0" err="1"/>
              <a:t>Creating</a:t>
            </a:r>
            <a:r>
              <a:rPr lang="es-AR" dirty="0"/>
              <a:t> a </a:t>
            </a:r>
            <a:r>
              <a:rPr lang="es-AR" dirty="0" err="1"/>
              <a:t>Model</a:t>
            </a:r>
            <a:r>
              <a:rPr lang="es-AR" dirty="0"/>
              <a:t> Training</a:t>
            </a:r>
            <a:endParaRPr spc="75" dirty="0"/>
          </a:p>
        </p:txBody>
      </p:sp>
      <p:graphicFrame>
        <p:nvGraphicFramePr>
          <p:cNvPr id="14" name="object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2098939"/>
              </p:ext>
            </p:extLst>
          </p:nvPr>
        </p:nvGraphicFramePr>
        <p:xfrm>
          <a:off x="298980" y="1712759"/>
          <a:ext cx="2054475" cy="269357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54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944787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lang="es-AR" sz="1800" b="1" spc="45" dirty="0" err="1">
                          <a:latin typeface="Graphik Medium" panose="020B0603030202060203" pitchFamily="34" charset="0"/>
                          <a:cs typeface="Arial"/>
                        </a:rPr>
                        <a:t>Model</a:t>
                      </a:r>
                      <a:r>
                        <a:rPr lang="es-AR" sz="1800" b="1" spc="45" dirty="0">
                          <a:latin typeface="Graphik Medium" panose="020B0603030202060203" pitchFamily="34" charset="0"/>
                          <a:cs typeface="Arial"/>
                        </a:rPr>
                        <a:t> </a:t>
                      </a:r>
                      <a:r>
                        <a:rPr lang="es-AR" sz="1800" b="1" spc="45" dirty="0" err="1">
                          <a:latin typeface="Graphik Medium" panose="020B0603030202060203" pitchFamily="34" charset="0"/>
                          <a:cs typeface="Arial"/>
                        </a:rPr>
                        <a:t>Configuration</a:t>
                      </a:r>
                      <a:endParaRPr sz="1800" dirty="0">
                        <a:latin typeface="Graphik Medium" panose="020B0603030202060203" pitchFamily="34" charset="0"/>
                        <a:cs typeface="Arial"/>
                      </a:endParaRPr>
                    </a:p>
                  </a:txBody>
                  <a:tcPr marL="0" marR="0" marT="3937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D99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21484">
                <a:tc>
                  <a:txBody>
                    <a:bodyPr/>
                    <a:lstStyle/>
                    <a:p>
                      <a:pPr marL="377825" marR="187960" indent="-287020">
                        <a:lnSpc>
                          <a:spcPct val="100000"/>
                        </a:lnSpc>
                        <a:spcBef>
                          <a:spcPts val="330"/>
                        </a:spcBef>
                        <a:buChar char="•"/>
                        <a:tabLst>
                          <a:tab pos="377825" algn="l"/>
                        </a:tabLst>
                      </a:pPr>
                      <a:r>
                        <a:rPr lang="en-US" sz="1600" dirty="0"/>
                        <a:t>Sets the initial parameters for the model to define its behavior and integration within the system.</a:t>
                      </a:r>
                    </a:p>
                  </a:txBody>
                  <a:tcPr marL="0" marR="0" marT="4191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8" name="object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8026351"/>
              </p:ext>
            </p:extLst>
          </p:nvPr>
        </p:nvGraphicFramePr>
        <p:xfrm>
          <a:off x="4750309" y="1712759"/>
          <a:ext cx="2054475" cy="277616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54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27379">
                <a:tc>
                  <a:txBody>
                    <a:bodyPr/>
                    <a:lstStyle/>
                    <a:p>
                      <a:pPr marL="0" marR="164465" lvl="0" indent="-433070" algn="ctr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lang="en-US" sz="1800" b="1" spc="45" dirty="0">
                          <a:solidFill>
                            <a:schemeClr val="tx1"/>
                          </a:solidFill>
                          <a:latin typeface="Graphik Medium" panose="020B0603030202060203" pitchFamily="34" charset="0"/>
                          <a:ea typeface="+mn-ea"/>
                          <a:cs typeface="Arial"/>
                        </a:rPr>
                        <a:t>Age of Conditional Probability of  Failure</a:t>
                      </a:r>
                      <a:endParaRPr lang="es-AR" sz="1800" b="1" spc="45" dirty="0">
                        <a:solidFill>
                          <a:schemeClr val="tx1"/>
                        </a:solidFill>
                        <a:latin typeface="Graphik Medium" panose="020B0603030202060203" pitchFamily="34" charset="0"/>
                        <a:ea typeface="+mn-ea"/>
                        <a:cs typeface="Arial"/>
                      </a:endParaRPr>
                    </a:p>
                  </a:txBody>
                  <a:tcPr marL="0" marR="0" marT="3937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D8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24891">
                <a:tc>
                  <a:txBody>
                    <a:bodyPr/>
                    <a:lstStyle/>
                    <a:p>
                      <a:pPr marL="378460" indent="-286385">
                        <a:lnSpc>
                          <a:spcPct val="100000"/>
                        </a:lnSpc>
                        <a:spcBef>
                          <a:spcPts val="330"/>
                        </a:spcBef>
                        <a:buChar char="•"/>
                        <a:tabLst>
                          <a:tab pos="378460" algn="l"/>
                        </a:tabLst>
                      </a:pPr>
                      <a:r>
                        <a:rPr lang="en-US" sz="1600" dirty="0"/>
                        <a:t>Defines the age at which the probability of failure begins to change based on the asset's condition.</a:t>
                      </a:r>
                      <a:endParaRPr sz="1400" dirty="0">
                        <a:latin typeface="Arial MT"/>
                        <a:cs typeface="Arial MT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0" name="object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2342415"/>
              </p:ext>
            </p:extLst>
          </p:nvPr>
        </p:nvGraphicFramePr>
        <p:xfrm>
          <a:off x="7027101" y="1712759"/>
          <a:ext cx="2174537" cy="269357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1745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159384">
                <a:tc>
                  <a:txBody>
                    <a:bodyPr/>
                    <a:lstStyle/>
                    <a:p>
                      <a:pPr marL="0" marR="164465" lvl="0" indent="-433070" algn="ctr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lang="en-US" sz="1800" b="1" spc="45" dirty="0">
                          <a:solidFill>
                            <a:schemeClr val="tx1"/>
                          </a:solidFill>
                          <a:latin typeface="Graphik Medium" panose="020B0603030202060203" pitchFamily="34" charset="0"/>
                          <a:ea typeface="+mn-ea"/>
                          <a:cs typeface="Arial"/>
                        </a:rPr>
                        <a:t>First Installation Date is Maintained and Reliable</a:t>
                      </a:r>
                      <a:r>
                        <a:rPr lang="es-AR" sz="1800" b="1" spc="45" dirty="0">
                          <a:solidFill>
                            <a:schemeClr val="tx1"/>
                          </a:solidFill>
                          <a:latin typeface="Graphik Medium" panose="020B0603030202060203" pitchFamily="34" charset="0"/>
                          <a:ea typeface="+mn-ea"/>
                          <a:cs typeface="Arial"/>
                        </a:rPr>
                        <a:t> </a:t>
                      </a:r>
                      <a:endParaRPr sz="1800" b="1" spc="45" dirty="0">
                        <a:solidFill>
                          <a:schemeClr val="tx1"/>
                        </a:solidFill>
                        <a:latin typeface="Graphik Medium" panose="020B0603030202060203" pitchFamily="34" charset="0"/>
                        <a:ea typeface="+mn-ea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D8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34193">
                <a:tc>
                  <a:txBody>
                    <a:bodyPr/>
                    <a:lstStyle/>
                    <a:p>
                      <a:pPr marL="377825" marR="327025" indent="-285750">
                        <a:lnSpc>
                          <a:spcPct val="100000"/>
                        </a:lnSpc>
                        <a:spcBef>
                          <a:spcPts val="330"/>
                        </a:spcBef>
                        <a:buFont typeface="Arial" panose="020B0604020202020204" pitchFamily="34" charset="0"/>
                        <a:buChar char="•"/>
                        <a:tabLst>
                          <a:tab pos="379095" algn="l"/>
                        </a:tabLst>
                      </a:pPr>
                      <a:r>
                        <a:rPr lang="en-US" sz="1600" dirty="0"/>
                        <a:t>Specifies the first installation date and whether it’s reliable for accurate lifecycle calculations.</a:t>
                      </a:r>
                      <a:endParaRPr lang="en-US" sz="1600" dirty="0">
                        <a:latin typeface="+mj-lt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7" name="object 27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Copyright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9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©</a:t>
            </a:r>
            <a:r>
              <a:rPr kumimoji="0" sz="800" b="0" i="0" u="none" strike="noStrike" kern="0" cap="none" spc="5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2025 Accenture.</a:t>
            </a:r>
            <a:r>
              <a:rPr kumimoji="0" sz="800" b="0" i="0" u="none" strike="noStrike" kern="0" cap="none" spc="-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All</a:t>
            </a:r>
            <a:r>
              <a:rPr kumimoji="0" sz="800" b="0" i="0" u="none" strike="noStrike" kern="0" cap="none" spc="4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rights</a:t>
            </a:r>
            <a:r>
              <a:rPr kumimoji="0" sz="800" b="0" i="0" u="none" strike="noStrike" kern="0" cap="none" spc="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reserved.</a:t>
            </a:r>
          </a:p>
        </p:txBody>
      </p:sp>
      <p:sp>
        <p:nvSpPr>
          <p:cNvPr id="28" name="object 2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algn="l" defTabSz="914400" rtl="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MT"/>
                <a:ea typeface="+mn-ea"/>
              </a:rPr>
              <a:pPr marL="38100" marR="0" lvl="0" indent="0" algn="l" defTabSz="914400" rtl="0" eaLnBrk="1" fontAlgn="auto" latinLnBrk="0" hangingPunct="1">
                <a:lnSpc>
                  <a:spcPts val="9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MT"/>
              <a:ea typeface="+mn-ea"/>
            </a:endParaRPr>
          </a:p>
        </p:txBody>
      </p:sp>
      <p:graphicFrame>
        <p:nvGraphicFramePr>
          <p:cNvPr id="26" name="object 18">
            <a:extLst>
              <a:ext uri="{FF2B5EF4-FFF2-40B4-BE49-F238E27FC236}">
                <a16:creationId xmlns:a16="http://schemas.microsoft.com/office/drawing/2014/main" id="{264516A8-5EEB-7D79-871D-315F87084D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2006612"/>
              </p:ext>
            </p:extLst>
          </p:nvPr>
        </p:nvGraphicFramePr>
        <p:xfrm>
          <a:off x="2495779" y="1712759"/>
          <a:ext cx="2054475" cy="22227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54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04399">
                <a:tc>
                  <a:txBody>
                    <a:bodyPr/>
                    <a:lstStyle/>
                    <a:p>
                      <a:pPr marL="604520" marR="164465" indent="-433070" algn="ctr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lang="es-AR" sz="1800" b="1" spc="45" dirty="0" err="1">
                          <a:solidFill>
                            <a:schemeClr val="tx1"/>
                          </a:solidFill>
                          <a:latin typeface="Graphik Medium" panose="020B0603030202060203" pitchFamily="34" charset="0"/>
                          <a:ea typeface="+mn-ea"/>
                          <a:cs typeface="Arial"/>
                        </a:rPr>
                        <a:t>Group</a:t>
                      </a:r>
                      <a:endParaRPr lang="es-AR" sz="1800" b="1" spc="45" dirty="0">
                        <a:solidFill>
                          <a:schemeClr val="tx1"/>
                        </a:solidFill>
                        <a:latin typeface="Graphik Medium" panose="020B0603030202060203" pitchFamily="34" charset="0"/>
                        <a:ea typeface="+mn-ea"/>
                        <a:cs typeface="Arial"/>
                      </a:endParaRPr>
                    </a:p>
                  </a:txBody>
                  <a:tcPr marL="0" marR="0" marT="3937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D8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53121">
                <a:tc>
                  <a:txBody>
                    <a:bodyPr/>
                    <a:lstStyle/>
                    <a:p>
                      <a:pPr marL="378460" indent="-286385">
                        <a:lnSpc>
                          <a:spcPct val="100000"/>
                        </a:lnSpc>
                        <a:spcBef>
                          <a:spcPts val="330"/>
                        </a:spcBef>
                        <a:buChar char="•"/>
                        <a:tabLst>
                          <a:tab pos="378460" algn="l"/>
                        </a:tabLst>
                      </a:pPr>
                      <a:r>
                        <a:rPr lang="en-US" sz="1600" dirty="0"/>
                        <a:t>Categorizes the model under a specific group, such as a type of equipment, for better organization.</a:t>
                      </a:r>
                      <a:br>
                        <a:rPr lang="en-US" sz="1600" dirty="0"/>
                      </a:br>
                      <a:endParaRPr sz="1400" dirty="0">
                        <a:latin typeface="Arial MT"/>
                        <a:cs typeface="Arial MT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5" name="object 18">
            <a:extLst>
              <a:ext uri="{FF2B5EF4-FFF2-40B4-BE49-F238E27FC236}">
                <a16:creationId xmlns:a16="http://schemas.microsoft.com/office/drawing/2014/main" id="{93B42CBE-FE90-47E3-B7DC-E012E4D84A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4587455"/>
              </p:ext>
            </p:extLst>
          </p:nvPr>
        </p:nvGraphicFramePr>
        <p:xfrm>
          <a:off x="9475693" y="1712759"/>
          <a:ext cx="2054475" cy="24977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54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79430">
                <a:tc>
                  <a:txBody>
                    <a:bodyPr/>
                    <a:lstStyle/>
                    <a:p>
                      <a:pPr marL="0" marR="164465" lvl="0" indent="-433070" algn="ctr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lang="es-ES" sz="1800" b="1" spc="45" dirty="0" err="1">
                          <a:solidFill>
                            <a:schemeClr val="tx1"/>
                          </a:solidFill>
                          <a:latin typeface="Graphik Medium" panose="020B0603030202060203" pitchFamily="34" charset="0"/>
                          <a:ea typeface="+mn-ea"/>
                          <a:cs typeface="Arial"/>
                        </a:rPr>
                        <a:t>Technical</a:t>
                      </a:r>
                      <a:r>
                        <a:rPr lang="es-ES" sz="1800" b="1" spc="45" dirty="0">
                          <a:solidFill>
                            <a:schemeClr val="tx1"/>
                          </a:solidFill>
                          <a:latin typeface="Graphik Medium" panose="020B0603030202060203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s-ES" sz="1800" b="1" spc="45" dirty="0" err="1">
                          <a:solidFill>
                            <a:schemeClr val="tx1"/>
                          </a:solidFill>
                          <a:latin typeface="Graphik Medium" panose="020B0603030202060203" pitchFamily="34" charset="0"/>
                          <a:ea typeface="+mn-ea"/>
                          <a:cs typeface="Arial"/>
                        </a:rPr>
                        <a:t>Object</a:t>
                      </a:r>
                      <a:r>
                        <a:rPr lang="es-ES" sz="1800" b="1" spc="45" dirty="0">
                          <a:solidFill>
                            <a:schemeClr val="tx1"/>
                          </a:solidFill>
                          <a:latin typeface="Graphik Medium" panose="020B0603030202060203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s-ES" sz="1800" b="1" spc="45" dirty="0" err="1">
                          <a:solidFill>
                            <a:schemeClr val="tx1"/>
                          </a:solidFill>
                          <a:latin typeface="Graphik Medium" panose="020B0603030202060203" pitchFamily="34" charset="0"/>
                          <a:ea typeface="+mn-ea"/>
                          <a:cs typeface="Arial"/>
                        </a:rPr>
                        <a:t>is</a:t>
                      </a:r>
                      <a:r>
                        <a:rPr lang="es-ES" sz="1800" b="1" spc="45" dirty="0">
                          <a:solidFill>
                            <a:schemeClr val="tx1"/>
                          </a:solidFill>
                          <a:latin typeface="Graphik Medium" panose="020B0603030202060203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s-ES" sz="1800" b="1" spc="45" dirty="0" err="1">
                          <a:solidFill>
                            <a:schemeClr val="tx1"/>
                          </a:solidFill>
                          <a:latin typeface="Graphik Medium" panose="020B0603030202060203" pitchFamily="34" charset="0"/>
                          <a:ea typeface="+mn-ea"/>
                          <a:cs typeface="Arial"/>
                        </a:rPr>
                        <a:t>Repairable</a:t>
                      </a:r>
                      <a:endParaRPr lang="es-AR" sz="1800" b="1" spc="45" dirty="0">
                        <a:solidFill>
                          <a:schemeClr val="tx1"/>
                        </a:solidFill>
                        <a:latin typeface="Graphik Medium" panose="020B0603030202060203" pitchFamily="34" charset="0"/>
                        <a:ea typeface="+mn-ea"/>
                        <a:cs typeface="Arial"/>
                      </a:endParaRPr>
                    </a:p>
                  </a:txBody>
                  <a:tcPr marL="0" marR="0" marT="3937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D8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53121">
                <a:tc>
                  <a:txBody>
                    <a:bodyPr/>
                    <a:lstStyle/>
                    <a:p>
                      <a:pPr marL="378460" indent="-286385">
                        <a:lnSpc>
                          <a:spcPct val="100000"/>
                        </a:lnSpc>
                        <a:spcBef>
                          <a:spcPts val="330"/>
                        </a:spcBef>
                        <a:buChar char="•"/>
                        <a:tabLst>
                          <a:tab pos="378460" algn="l"/>
                        </a:tabLst>
                      </a:pPr>
                      <a:r>
                        <a:rPr lang="en-US" sz="1600" dirty="0"/>
                        <a:t>Categorizes the model under a specific group, such as a type of equipment, for better organization.</a:t>
                      </a:r>
                      <a:br>
                        <a:rPr lang="en-US" sz="1600" dirty="0"/>
                      </a:br>
                      <a:endParaRPr sz="1400" dirty="0">
                        <a:latin typeface="Arial MT"/>
                        <a:cs typeface="Arial MT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0D28D6-A5D2-F814-0B06-14739AA00D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80C5FA90-9124-FB5E-AC87-C6A0020BFEA3}"/>
              </a:ext>
            </a:extLst>
          </p:cNvPr>
          <p:cNvSpPr/>
          <p:nvPr/>
        </p:nvSpPr>
        <p:spPr>
          <a:xfrm>
            <a:off x="0" y="2005281"/>
            <a:ext cx="838200" cy="3200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93A26605-61B7-B6BF-E64B-6D4C4DE412F5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Copyright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9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©</a:t>
            </a:r>
            <a:r>
              <a:rPr kumimoji="0" sz="800" b="0" i="0" u="none" strike="noStrike" kern="0" cap="none" spc="5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2025 Accenture.</a:t>
            </a:r>
            <a:r>
              <a:rPr kumimoji="0" sz="800" b="0" i="0" u="none" strike="noStrike" kern="0" cap="none" spc="-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All</a:t>
            </a:r>
            <a:r>
              <a:rPr kumimoji="0" sz="800" b="0" i="0" u="none" strike="noStrike" kern="0" cap="none" spc="4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rights</a:t>
            </a:r>
            <a:r>
              <a:rPr kumimoji="0" sz="800" b="0" i="0" u="none" strike="noStrike" kern="0" cap="none" spc="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reserved.</a:t>
            </a: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096B1CDE-A06C-4E74-DDA5-A2FC00AE840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algn="l" defTabSz="914400" rtl="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MT"/>
                <a:ea typeface="+mn-ea"/>
              </a:rPr>
              <a:pPr marL="38100" marR="0" lvl="0" indent="0" algn="l" defTabSz="914400" rtl="0" eaLnBrk="1" fontAlgn="auto" latinLnBrk="0" hangingPunct="1">
                <a:lnSpc>
                  <a:spcPts val="9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MT"/>
              <a:ea typeface="+mn-ea"/>
            </a:endParaRPr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6AB4B5BE-47C3-616D-0F21-C9A2126BFC2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7368" y="59713"/>
            <a:ext cx="10958195" cy="97539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s-AR" spc="55" dirty="0" err="1"/>
              <a:t>How</a:t>
            </a:r>
            <a:r>
              <a:rPr lang="es-AR" spc="55" dirty="0"/>
              <a:t> </a:t>
            </a:r>
            <a:r>
              <a:rPr lang="es-AR" spc="55" dirty="0" err="1"/>
              <a:t>to</a:t>
            </a:r>
            <a:r>
              <a:rPr lang="es-AR" spc="55" dirty="0"/>
              <a:t> </a:t>
            </a:r>
            <a:r>
              <a:rPr lang="es-AR" spc="55" dirty="0" err="1"/>
              <a:t>create</a:t>
            </a:r>
            <a:r>
              <a:rPr lang="es-AR" spc="55" dirty="0"/>
              <a:t> a </a:t>
            </a:r>
            <a:r>
              <a:rPr lang="es-AR" spc="55" dirty="0" err="1"/>
              <a:t>Model</a:t>
            </a:r>
            <a:r>
              <a:rPr lang="es-AR" spc="55" dirty="0"/>
              <a:t> Training? </a:t>
            </a:r>
            <a:br>
              <a:rPr lang="es-AR" spc="55" dirty="0"/>
            </a:br>
            <a:r>
              <a:rPr lang="es-AR" sz="2400" spc="55" dirty="0">
                <a:solidFill>
                  <a:srgbClr val="A055F5"/>
                </a:solidFill>
              </a:rPr>
              <a:t>Step </a:t>
            </a:r>
            <a:r>
              <a:rPr lang="es-AR" sz="2400" spc="55" dirty="0" err="1">
                <a:solidFill>
                  <a:srgbClr val="A055F5"/>
                </a:solidFill>
              </a:rPr>
              <a:t>by</a:t>
            </a:r>
            <a:r>
              <a:rPr lang="es-AR" sz="2400" spc="55" dirty="0">
                <a:solidFill>
                  <a:srgbClr val="A055F5"/>
                </a:solidFill>
              </a:rPr>
              <a:t> Step</a:t>
            </a:r>
            <a:endParaRPr spc="55" dirty="0">
              <a:solidFill>
                <a:srgbClr val="A055F5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02003FF-5943-DAD5-E164-EB17451F9AC5}"/>
              </a:ext>
            </a:extLst>
          </p:cNvPr>
          <p:cNvGrpSpPr/>
          <p:nvPr/>
        </p:nvGrpSpPr>
        <p:grpSpPr>
          <a:xfrm>
            <a:off x="1221288" y="1344935"/>
            <a:ext cx="9749423" cy="4521092"/>
            <a:chOff x="1045924" y="1344935"/>
            <a:chExt cx="9749423" cy="4521092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3599F6C5-0A3A-0B44-11BF-0FEF5FC1E0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45924" y="1344935"/>
              <a:ext cx="9749423" cy="4521092"/>
            </a:xfrm>
            <a:prstGeom prst="rect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32BD13F-0B0A-5C7E-97C3-D0F65B4BC901}"/>
                </a:ext>
              </a:extLst>
            </p:cNvPr>
            <p:cNvSpPr/>
            <p:nvPr/>
          </p:nvSpPr>
          <p:spPr>
            <a:xfrm flipH="1" flipV="1">
              <a:off x="1208763" y="3429000"/>
              <a:ext cx="7058413" cy="1151680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602006F-E188-091A-658B-CC4E0256EC4A}"/>
                </a:ext>
              </a:extLst>
            </p:cNvPr>
            <p:cNvSpPr/>
            <p:nvPr/>
          </p:nvSpPr>
          <p:spPr>
            <a:xfrm flipH="1" flipV="1">
              <a:off x="1208763" y="4722312"/>
              <a:ext cx="9062578" cy="1002083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130FAAF-D61F-0A34-EE4E-5EB007EA5BF3}"/>
                </a:ext>
              </a:extLst>
            </p:cNvPr>
            <p:cNvSpPr/>
            <p:nvPr/>
          </p:nvSpPr>
          <p:spPr>
            <a:xfrm flipH="1" flipV="1">
              <a:off x="8536490" y="1591910"/>
              <a:ext cx="1314179" cy="413371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80354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BF950A-55DF-9345-8C41-DE6BA5F6A8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7E926F9-710B-A046-C9CD-5C67FB38B5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8763" y="1274575"/>
            <a:ext cx="9849955" cy="4661811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EA79B8F2-EE87-F4E3-E51A-535B372D57C1}"/>
              </a:ext>
            </a:extLst>
          </p:cNvPr>
          <p:cNvSpPr/>
          <p:nvPr/>
        </p:nvSpPr>
        <p:spPr>
          <a:xfrm>
            <a:off x="0" y="2005281"/>
            <a:ext cx="838200" cy="3200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A0E75B1C-E88A-1230-4BC1-2F122B96CE58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Copyright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9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©</a:t>
            </a:r>
            <a:r>
              <a:rPr kumimoji="0" sz="800" b="0" i="0" u="none" strike="noStrike" kern="0" cap="none" spc="5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2025 Accenture.</a:t>
            </a:r>
            <a:r>
              <a:rPr kumimoji="0" sz="800" b="0" i="0" u="none" strike="noStrike" kern="0" cap="none" spc="-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All</a:t>
            </a:r>
            <a:r>
              <a:rPr kumimoji="0" sz="800" b="0" i="0" u="none" strike="noStrike" kern="0" cap="none" spc="4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rights</a:t>
            </a:r>
            <a:r>
              <a:rPr kumimoji="0" sz="800" b="0" i="0" u="none" strike="noStrike" kern="0" cap="none" spc="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reserved.</a:t>
            </a: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B4AD3549-8099-E384-247D-72C40BCF0BB4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algn="l" defTabSz="914400" rtl="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MT"/>
                <a:ea typeface="+mn-ea"/>
              </a:rPr>
              <a:pPr marL="38100" marR="0" lvl="0" indent="0" algn="l" defTabSz="914400" rtl="0" eaLnBrk="1" fontAlgn="auto" latinLnBrk="0" hangingPunct="1">
                <a:lnSpc>
                  <a:spcPts val="9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MT"/>
              <a:ea typeface="+mn-ea"/>
            </a:endParaRPr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C5BFA145-3A6A-BB05-B711-BD1254F361D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7368" y="59713"/>
            <a:ext cx="10958195" cy="97539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s-AR" spc="55" dirty="0" err="1"/>
              <a:t>How</a:t>
            </a:r>
            <a:r>
              <a:rPr lang="es-AR" spc="55" dirty="0"/>
              <a:t> </a:t>
            </a:r>
            <a:r>
              <a:rPr lang="es-AR" spc="55" dirty="0" err="1"/>
              <a:t>to</a:t>
            </a:r>
            <a:r>
              <a:rPr lang="es-AR" spc="55" dirty="0"/>
              <a:t> </a:t>
            </a:r>
            <a:r>
              <a:rPr lang="es-AR" spc="55" dirty="0" err="1"/>
              <a:t>create</a:t>
            </a:r>
            <a:r>
              <a:rPr lang="es-AR" spc="55" dirty="0"/>
              <a:t> a </a:t>
            </a:r>
            <a:r>
              <a:rPr lang="es-AR" spc="55" dirty="0" err="1"/>
              <a:t>Model</a:t>
            </a:r>
            <a:r>
              <a:rPr lang="es-AR" spc="55" dirty="0"/>
              <a:t> </a:t>
            </a:r>
            <a:r>
              <a:rPr lang="es-AR" spc="55" dirty="0" err="1"/>
              <a:t>Trainning</a:t>
            </a:r>
            <a:r>
              <a:rPr lang="es-AR" spc="55" dirty="0"/>
              <a:t>? </a:t>
            </a:r>
            <a:br>
              <a:rPr lang="es-AR" spc="55" dirty="0"/>
            </a:br>
            <a:r>
              <a:rPr lang="es-AR" sz="2400" spc="55" dirty="0">
                <a:solidFill>
                  <a:srgbClr val="A055F5"/>
                </a:solidFill>
              </a:rPr>
              <a:t>Step </a:t>
            </a:r>
            <a:r>
              <a:rPr lang="es-AR" sz="2400" spc="55" dirty="0" err="1">
                <a:solidFill>
                  <a:srgbClr val="A055F5"/>
                </a:solidFill>
              </a:rPr>
              <a:t>by</a:t>
            </a:r>
            <a:r>
              <a:rPr lang="es-AR" sz="2400" spc="55" dirty="0">
                <a:solidFill>
                  <a:srgbClr val="A055F5"/>
                </a:solidFill>
              </a:rPr>
              <a:t> Step</a:t>
            </a:r>
            <a:endParaRPr spc="55" dirty="0">
              <a:solidFill>
                <a:srgbClr val="A055F5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9624F58-3BB8-1CD4-4924-79594CC0225E}"/>
              </a:ext>
            </a:extLst>
          </p:cNvPr>
          <p:cNvSpPr/>
          <p:nvPr/>
        </p:nvSpPr>
        <p:spPr>
          <a:xfrm flipH="1" flipV="1">
            <a:off x="2022955" y="2365861"/>
            <a:ext cx="1314179" cy="413371"/>
          </a:xfrm>
          <a:prstGeom prst="rect">
            <a:avLst/>
          </a:prstGeom>
          <a:noFill/>
          <a:ln w="38100" cap="flat" cmpd="sng" algn="ctr">
            <a:solidFill>
              <a:srgbClr val="A100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8064A2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96500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D4FE98-F781-0450-143E-2F8A83592C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590068E1-2CB5-B4F5-1128-FDDFF1EB1A80}"/>
              </a:ext>
            </a:extLst>
          </p:cNvPr>
          <p:cNvSpPr/>
          <p:nvPr/>
        </p:nvSpPr>
        <p:spPr>
          <a:xfrm>
            <a:off x="0" y="2361156"/>
            <a:ext cx="1676400" cy="3200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3DB69888-FD79-0A95-E28E-1022B6894E0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8300" y="205811"/>
            <a:ext cx="10958195" cy="97539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935"/>
              </a:spcBef>
            </a:pPr>
            <a:r>
              <a:rPr lang="en-US" dirty="0"/>
              <a:t>Where can I visualize Failure Curves Analytic</a:t>
            </a:r>
            <a:r>
              <a:rPr lang="es-AR" spc="55" dirty="0"/>
              <a:t>s?</a:t>
            </a:r>
            <a:br>
              <a:rPr lang="es-AR" spc="55" dirty="0"/>
            </a:br>
            <a:r>
              <a:rPr lang="es-AR" sz="2400" spc="55" dirty="0">
                <a:solidFill>
                  <a:srgbClr val="A055F5"/>
                </a:solidFill>
              </a:rPr>
              <a:t>Step </a:t>
            </a:r>
            <a:r>
              <a:rPr lang="es-AR" sz="2400" spc="55" dirty="0" err="1">
                <a:solidFill>
                  <a:srgbClr val="A055F5"/>
                </a:solidFill>
              </a:rPr>
              <a:t>by</a:t>
            </a:r>
            <a:r>
              <a:rPr lang="es-AR" sz="2400" spc="55" dirty="0">
                <a:solidFill>
                  <a:srgbClr val="A055F5"/>
                </a:solidFill>
              </a:rPr>
              <a:t> Step</a:t>
            </a:r>
            <a:endParaRPr spc="55" dirty="0">
              <a:solidFill>
                <a:srgbClr val="A055F5"/>
              </a:solidFill>
            </a:endParaRP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F4EAB2CF-87AB-DC98-A042-F2E305114B64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Copyright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9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©</a:t>
            </a:r>
            <a:r>
              <a:rPr kumimoji="0" sz="800" b="0" i="0" u="none" strike="noStrike" kern="0" cap="none" spc="5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2025 Accenture.</a:t>
            </a:r>
            <a:r>
              <a:rPr kumimoji="0" sz="800" b="0" i="0" u="none" strike="noStrike" kern="0" cap="none" spc="-5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All</a:t>
            </a:r>
            <a:r>
              <a:rPr kumimoji="0" sz="800" b="0" i="0" u="none" strike="noStrike" kern="0" cap="none" spc="4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3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rights</a:t>
            </a:r>
            <a:r>
              <a:rPr kumimoji="0" sz="800" b="0" i="0" u="none" strike="noStrike" kern="0" cap="none" spc="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 </a:t>
            </a:r>
            <a:r>
              <a:rPr kumimoji="0" sz="800" b="0" i="0" u="none" strike="noStrike" kern="0" cap="none" spc="-10" normalizeH="0" baseline="0" noProof="0" dirty="0">
                <a:ln>
                  <a:noFill/>
                </a:ln>
                <a:solidFill>
                  <a:srgbClr val="E6E6DC"/>
                </a:solidFill>
                <a:effectLst/>
                <a:uLnTx/>
                <a:uFillTx/>
                <a:latin typeface="Arial MT"/>
                <a:ea typeface="+mn-ea"/>
              </a:rPr>
              <a:t>reserved.</a:t>
            </a: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EAE70481-AFF9-547C-2ADD-4DF6BBCC885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algn="l" defTabSz="914400" rtl="0" eaLnBrk="1" fontAlgn="auto" latinLnBrk="0" hangingPunct="1">
              <a:lnSpc>
                <a:spcPts val="9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MT"/>
                <a:ea typeface="+mn-ea"/>
              </a:rPr>
              <a:pPr marL="38100" marR="0" lvl="0" indent="0" algn="l" defTabSz="914400" rtl="0" eaLnBrk="1" fontAlgn="auto" latinLnBrk="0" hangingPunct="1">
                <a:lnSpc>
                  <a:spcPts val="9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MT"/>
              <a:ea typeface="+mn-ea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84AC819-2E42-2015-1C3C-9C968EDA6B29}"/>
              </a:ext>
            </a:extLst>
          </p:cNvPr>
          <p:cNvGrpSpPr/>
          <p:nvPr/>
        </p:nvGrpSpPr>
        <p:grpSpPr>
          <a:xfrm>
            <a:off x="162838" y="3857868"/>
            <a:ext cx="11530560" cy="2273771"/>
            <a:chOff x="162838" y="3857868"/>
            <a:chExt cx="11530560" cy="227377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1A98426-DED2-8D07-7D4B-98F861C6679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62838" y="3857868"/>
              <a:ext cx="11530560" cy="2273771"/>
            </a:xfrm>
            <a:prstGeom prst="rect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FE98CAB-E1A3-0CBD-72EA-8033D149114E}"/>
                </a:ext>
              </a:extLst>
            </p:cNvPr>
            <p:cNvSpPr/>
            <p:nvPr/>
          </p:nvSpPr>
          <p:spPr>
            <a:xfrm flipH="1" flipV="1">
              <a:off x="248110" y="5422861"/>
              <a:ext cx="11291618" cy="505980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FEF14A6-9A7B-3674-6273-6D8977C463AE}"/>
              </a:ext>
            </a:extLst>
          </p:cNvPr>
          <p:cNvGrpSpPr/>
          <p:nvPr/>
        </p:nvGrpSpPr>
        <p:grpSpPr>
          <a:xfrm>
            <a:off x="162838" y="1483450"/>
            <a:ext cx="11530560" cy="2193048"/>
            <a:chOff x="162838" y="1483450"/>
            <a:chExt cx="11530560" cy="2193048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C47C6D4-257D-18AF-0976-D6B43F0FC03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62838" y="1483450"/>
              <a:ext cx="11530560" cy="2193048"/>
            </a:xfrm>
            <a:prstGeom prst="rect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924FD4E-DAD1-421E-DAB4-220F1515793C}"/>
                </a:ext>
              </a:extLst>
            </p:cNvPr>
            <p:cNvSpPr/>
            <p:nvPr/>
          </p:nvSpPr>
          <p:spPr>
            <a:xfrm flipH="1" flipV="1">
              <a:off x="368299" y="1993870"/>
              <a:ext cx="1676398" cy="1682627"/>
            </a:xfrm>
            <a:prstGeom prst="rect">
              <a:avLst/>
            </a:prstGeom>
            <a:noFill/>
            <a:ln w="38100" cap="flat" cmpd="sng" algn="ctr">
              <a:solidFill>
                <a:srgbClr val="A100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8064A2"/>
                </a:solidFill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39082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Custom 2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Starter_Pack_Graphik_210303_Fixed_Accessibility.potx" id="{5533E145-E600-4444-BC3D-5102D2EEDB31}" vid="{383380C5-E3D1-4977-8974-3F092EA624F2}"/>
    </a:ext>
  </a:extLst>
</a:theme>
</file>

<file path=ppt/theme/theme2.xml><?xml version="1.0" encoding="utf-8"?>
<a:theme xmlns:a="http://schemas.openxmlformats.org/drawingml/2006/main" name="2_ACN 2025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Custom 2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CoreTemplate_03" id="{C9E35A69-6F25-6F4F-A3EA-61F290C27BA5}" vid="{1E511D85-5DC6-744D-89C3-855C933E9A05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bdee75e-e153-436c-912d-9e57a8d650ce" xsi:nil="true"/>
    <lcf76f155ced4ddcb4097134ff3c332f xmlns="8d0928b9-5ae4-4c87-bd2d-d38ca31f08b2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F07F4B77FFA0A148BFB45048CD062606" ma:contentTypeVersion="14" ma:contentTypeDescription="Crear nuevo documento." ma:contentTypeScope="" ma:versionID="04ee26afd29461c674227801ad7084ca">
  <xsd:schema xmlns:xsd="http://www.w3.org/2001/XMLSchema" xmlns:xs="http://www.w3.org/2001/XMLSchema" xmlns:p="http://schemas.microsoft.com/office/2006/metadata/properties" xmlns:ns2="8d0928b9-5ae4-4c87-bd2d-d38ca31f08b2" xmlns:ns3="8bdee75e-e153-436c-912d-9e57a8d650ce" targetNamespace="http://schemas.microsoft.com/office/2006/metadata/properties" ma:root="true" ma:fieldsID="79dda966a5e385234c21657c010d8204" ns2:_="" ns3:_="">
    <xsd:import namespace="8d0928b9-5ae4-4c87-bd2d-d38ca31f08b2"/>
    <xsd:import namespace="8bdee75e-e153-436c-912d-9e57a8d650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0928b9-5ae4-4c87-bd2d-d38ca31f08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Etiquetas de imagen" ma:readOnly="false" ma:fieldId="{5cf76f15-5ced-4ddc-b409-7134ff3c332f}" ma:taxonomyMulti="true" ma:sspId="6d165d17-9b79-46c3-82b9-c927e733c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dee75e-e153-436c-912d-9e57a8d650ce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66fa96e-901b-4631-87ef-e0b51fa51e63}" ma:internalName="TaxCatchAll" ma:showField="CatchAllData" ma:web="8bdee75e-e153-436c-912d-9e57a8d650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40E80B8-5D3D-4389-B699-D821BDB3531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7DE682B-0C48-45E3-945B-559BB68A83E2}">
  <ds:schemaRefs>
    <ds:schemaRef ds:uri="http://schemas.microsoft.com/office/2006/metadata/properties"/>
    <ds:schemaRef ds:uri="http://schemas.microsoft.com/office/infopath/2007/PartnerControls"/>
    <ds:schemaRef ds:uri="8bdee75e-e153-436c-912d-9e57a8d650ce"/>
    <ds:schemaRef ds:uri="8d0928b9-5ae4-4c87-bd2d-d38ca31f08b2"/>
  </ds:schemaRefs>
</ds:datastoreItem>
</file>

<file path=customXml/itemProps3.xml><?xml version="1.0" encoding="utf-8"?>
<ds:datastoreItem xmlns:ds="http://schemas.openxmlformats.org/officeDocument/2006/customXml" ds:itemID="{0E5416D2-E8B1-48B4-9EE6-95067B545E81}"/>
</file>

<file path=docProps/app.xml><?xml version="1.0" encoding="utf-8"?>
<Properties xmlns="http://schemas.openxmlformats.org/officeDocument/2006/extended-properties" xmlns:vt="http://schemas.openxmlformats.org/officeDocument/2006/docPropsVTypes">
  <TotalTime>146</TotalTime>
  <Words>326</Words>
  <Application>Microsoft Office PowerPoint</Application>
  <PresentationFormat>Widescreen</PresentationFormat>
  <Paragraphs>50</Paragraphs>
  <Slides>10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0</vt:i4>
      </vt:variant>
    </vt:vector>
  </HeadingPairs>
  <TitlesOfParts>
    <vt:vector size="13" baseType="lpstr">
      <vt:lpstr>Accenture 2020</vt:lpstr>
      <vt:lpstr>2_ACN 2025</vt:lpstr>
      <vt:lpstr>1_Office Theme</vt:lpstr>
      <vt:lpstr>Failure Curve Analytics SAP APM</vt:lpstr>
      <vt:lpstr>Failure Curve Analytics</vt:lpstr>
      <vt:lpstr>How to create a Failure Curve Analytics?  Step by Step</vt:lpstr>
      <vt:lpstr>How to create a Model and Group?  Step by Step</vt:lpstr>
      <vt:lpstr>How to create a Group?  Step by Step</vt:lpstr>
      <vt:lpstr>Creating a Model Training</vt:lpstr>
      <vt:lpstr>How to create a Model Training?  Step by Step</vt:lpstr>
      <vt:lpstr>How to create a Model Trainning?  Step by Step</vt:lpstr>
      <vt:lpstr>Where can I visualize Failure Curves Analytics? Step by Step</vt:lpstr>
      <vt:lpstr>Where can I visualize Failure Curves Analytics? Step by Ste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olaso, Denise</dc:creator>
  <cp:lastModifiedBy>Colaso, Denise</cp:lastModifiedBy>
  <cp:revision>6</cp:revision>
  <dcterms:created xsi:type="dcterms:W3CDTF">2025-02-25T18:05:55Z</dcterms:created>
  <dcterms:modified xsi:type="dcterms:W3CDTF">2025-03-03T11:17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7F4B77FFA0A148BFB45048CD062606</vt:lpwstr>
  </property>
  <property fmtid="{D5CDD505-2E9C-101B-9397-08002B2CF9AE}" pid="3" name="MediaServiceImageTags">
    <vt:lpwstr/>
  </property>
</Properties>
</file>